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av" ContentType="audio/x-wav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3.xml" ContentType="application/vnd.openxmlformats-officedocument.presentationml.tags+xml"/>
  <Override PartName="/ppt/activeX/activeX1.xml" ContentType="application/vnd.ms-office.activeX+xml"/>
  <Override PartName="/ppt/activeX/activeX1.bin" ContentType="application/vnd.ms-office.activeX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ink/ink1.xml" ContentType="application/inkml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84" r:id="rId3"/>
  </p:sldMasterIdLst>
  <p:notesMasterIdLst>
    <p:notesMasterId r:id="rId26"/>
  </p:notesMasterIdLst>
  <p:sldIdLst>
    <p:sldId id="268" r:id="rId4"/>
    <p:sldId id="274" r:id="rId5"/>
    <p:sldId id="265" r:id="rId6"/>
    <p:sldId id="266" r:id="rId7"/>
    <p:sldId id="267" r:id="rId8"/>
    <p:sldId id="275" r:id="rId9"/>
    <p:sldId id="256" r:id="rId10"/>
    <p:sldId id="257" r:id="rId11"/>
    <p:sldId id="258" r:id="rId12"/>
    <p:sldId id="281" r:id="rId13"/>
    <p:sldId id="280" r:id="rId14"/>
    <p:sldId id="276" r:id="rId15"/>
    <p:sldId id="259" r:id="rId16"/>
    <p:sldId id="260" r:id="rId17"/>
    <p:sldId id="261" r:id="rId18"/>
    <p:sldId id="277" r:id="rId19"/>
    <p:sldId id="262" r:id="rId20"/>
    <p:sldId id="263" r:id="rId21"/>
    <p:sldId id="278" r:id="rId22"/>
    <p:sldId id="264" r:id="rId23"/>
    <p:sldId id="279" r:id="rId24"/>
    <p:sldId id="282" r:id="rId25"/>
  </p:sldIdLst>
  <p:sldSz cx="12192000" cy="6858000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stsuite" id="{8CF48EC0-D452-4EBB-B3E4-B247DCAA5EBA}">
          <p14:sldIdLst>
            <p14:sldId id="268"/>
            <p14:sldId id="274"/>
            <p14:sldId id="265"/>
            <p14:sldId id="266"/>
            <p14:sldId id="267"/>
          </p14:sldIdLst>
        </p14:section>
        <p14:section name="Shapetypes" id="{8F57E776-7EF8-4659-9EA8-713BF3E0DA74}">
          <p14:sldIdLst>
            <p14:sldId id="275"/>
            <p14:sldId id="256"/>
            <p14:sldId id="257"/>
            <p14:sldId id="258"/>
            <p14:sldId id="281"/>
            <p14:sldId id="280"/>
          </p14:sldIdLst>
        </p14:section>
        <p14:section name="Shapestypes 2" id="{EB0B7FA9-8F2B-41E2-92C4-614ECB449269}">
          <p14:sldIdLst>
            <p14:sldId id="276"/>
            <p14:sldId id="259"/>
            <p14:sldId id="260"/>
            <p14:sldId id="261"/>
          </p14:sldIdLst>
        </p14:section>
        <p14:section name="Shapetypes 3" id="{AAF73858-CEBF-4A74-BCAB-B80A660DA300}">
          <p14:sldIdLst>
            <p14:sldId id="277"/>
            <p14:sldId id="262"/>
            <p14:sldId id="263"/>
          </p14:sldIdLst>
        </p14:section>
        <p14:section name="Gradients" id="{0987F906-1B92-450C-B75A-EF27E36988A1}">
          <p14:sldIdLst>
            <p14:sldId id="278"/>
            <p14:sldId id="264"/>
          </p14:sldIdLst>
        </p14:section>
        <p14:section name="Thumbnail" id="{11D78E82-A259-4016-9DF1-8C10CCF77243}">
          <p14:sldIdLst>
            <p14:sldId id="279"/>
          </p14:sldIdLst>
        </p14:section>
        <p14:section name="Shapetables" id="{65C0DF56-DF26-451A-896E-E64362A924DA}">
          <p14:sldIdLst>
            <p14:sldId id="28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lorian Stallmann" initials="FS" lastIdx="2" clrIdx="0">
    <p:extLst>
      <p:ext uri="{19B8F6BF-5375-455C-9EA6-DF929625EA0E}">
        <p15:presenceInfo xmlns:p15="http://schemas.microsoft.com/office/powerpoint/2012/main" userId="87adb65ad37b572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9076F4-4983-4A24-A3FA-D1ED652A321E}" v="4" dt="2020-06-27T19:09:08.4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60"/>
  </p:normalViewPr>
  <p:slideViewPr>
    <p:cSldViewPr snapToGrid="0">
      <p:cViewPr varScale="1">
        <p:scale>
          <a:sx n="98" d="100"/>
          <a:sy n="98" d="100"/>
        </p:scale>
        <p:origin x="408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microsoft.com/office/2016/11/relationships/changesInfo" Target="changesInfos/changesInfo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activeX/_rels/activeX1.xml.rels><?xml version="1.0" encoding="UTF-8" standalone="yes"?>
<Relationships xmlns="http://schemas.openxmlformats.org/package/2006/relationships"><Relationship Id="rId1" Type="http://schemas.microsoft.com/office/2006/relationships/activeXControlBinary" Target="activeX1.bin"/></Relationships>
</file>

<file path=ppt/activeX/activeX1.xml><?xml version="1.0" encoding="utf-8"?>
<ax:ocx xmlns:ax="http://schemas.microsoft.com/office/2006/activeX" xmlns:r="http://schemas.openxmlformats.org/officeDocument/2006/relationships" ax:classid="{8BD21D40-EC42-11CE-9E0D-00AA006002F3}" ax:persistence="persistStorage" r:id="rId1"/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lorian Stallmann" userId="87adb65ad37b5729" providerId="LiveId" clId="{A19076F4-4983-4A24-A3FA-D1ED652A321E}"/>
    <pc:docChg chg="custSel modSld">
      <pc:chgData name="Florian Stallmann" userId="87adb65ad37b5729" providerId="LiveId" clId="{A19076F4-4983-4A24-A3FA-D1ED652A321E}" dt="2020-06-27T19:09:32.911" v="6" actId="478"/>
      <pc:docMkLst>
        <pc:docMk/>
      </pc:docMkLst>
      <pc:sldChg chg="addSp delSp modSp mod">
        <pc:chgData name="Florian Stallmann" userId="87adb65ad37b5729" providerId="LiveId" clId="{A19076F4-4983-4A24-A3FA-D1ED652A321E}" dt="2020-06-27T19:09:32.911" v="6" actId="478"/>
        <pc:sldMkLst>
          <pc:docMk/>
          <pc:sldMk cId="4116753122" sldId="281"/>
        </pc:sldMkLst>
        <pc:spChg chg="del mod">
          <ac:chgData name="Florian Stallmann" userId="87adb65ad37b5729" providerId="LiveId" clId="{A19076F4-4983-4A24-A3FA-D1ED652A321E}" dt="2020-06-27T19:09:32.911" v="6" actId="478"/>
          <ac:spMkLst>
            <pc:docMk/>
            <pc:sldMk cId="4116753122" sldId="281"/>
            <ac:spMk id="9" creationId="{9EE18235-249F-4320-B042-DFD631C4A36A}"/>
          </ac:spMkLst>
        </pc:spChg>
        <pc:graphicFrameChg chg="mod">
          <ac:chgData name="Florian Stallmann" userId="87adb65ad37b5729" providerId="LiveId" clId="{A19076F4-4983-4A24-A3FA-D1ED652A321E}" dt="2020-06-27T19:07:12.249" v="0"/>
          <ac:graphicFrameMkLst>
            <pc:docMk/>
            <pc:sldMk cId="4116753122" sldId="281"/>
            <ac:graphicFrameMk id="58" creationId="{00000000-0000-0000-0000-000000000000}"/>
          </ac:graphicFrameMkLst>
        </pc:graphicFrameChg>
        <pc:picChg chg="add mod">
          <ac:chgData name="Florian Stallmann" userId="87adb65ad37b5729" providerId="LiveId" clId="{A19076F4-4983-4A24-A3FA-D1ED652A321E}" dt="2020-06-27T19:07:55.819" v="4" actId="1076"/>
          <ac:picMkLst>
            <pc:docMk/>
            <pc:sldMk cId="4116753122" sldId="281"/>
            <ac:picMk id="7" creationId="{DBD6152D-26D6-4C4E-AE39-A834DA8F4179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62" b="0" i="0" u="none" strike="noStrike" kern="1200" spc="0" baseline="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noProof="0" dirty="0" err="1"/>
              <a:t>Diagrammtitel</a:t>
            </a:r>
            <a:endParaRPr lang="en-US" noProof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862" b="0" i="0" u="none" strike="noStrike" kern="1200" spc="0" baseline="0" noProof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B9-4D9F-B598-3620FD4C877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B9-4D9F-B598-3620FD4C8777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1B9-4D9F-B598-3620FD4C87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0492824"/>
        <c:axId val="100491512"/>
      </c:barChart>
      <c:catAx>
        <c:axId val="100492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0491512"/>
        <c:crosses val="autoZero"/>
        <c:auto val="1"/>
        <c:lblAlgn val="ctr"/>
        <c:lblOffset val="100"/>
        <c:noMultiLvlLbl val="0"/>
      </c:catAx>
      <c:valAx>
        <c:axId val="100491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0492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81416080386403"/>
          <c:y val="0.14982412468207151"/>
          <c:w val="0.73940082933420304"/>
          <c:h val="0.440613669570864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A5-49B8-9D5E-07BF086B447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A5-49B8-9D5E-07BF086B447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6A5-49B8-9D5E-07BF086B44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0492824"/>
        <c:axId val="100491512"/>
      </c:barChart>
      <c:catAx>
        <c:axId val="100492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0491512"/>
        <c:crosses val="autoZero"/>
        <c:auto val="1"/>
        <c:lblAlgn val="ctr"/>
        <c:lblOffset val="100"/>
        <c:noMultiLvlLbl val="0"/>
      </c:catAx>
      <c:valAx>
        <c:axId val="100491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0492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800"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D4-4BF7-A09A-73A1F07BA2C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DD4-4BF7-A09A-73A1F07BA2C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DD4-4BF7-A09A-73A1F07BA2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4258512"/>
        <c:axId val="834257528"/>
      </c:barChart>
      <c:catAx>
        <c:axId val="834258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34257528"/>
        <c:crosses val="autoZero"/>
        <c:auto val="1"/>
        <c:lblAlgn val="ctr"/>
        <c:lblOffset val="100"/>
        <c:noMultiLvlLbl val="0"/>
      </c:catAx>
      <c:valAx>
        <c:axId val="834257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342585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2075583109835265"/>
          <c:y val="0.72910864564601607"/>
          <c:w val="0.67797760220931147"/>
          <c:h val="0.270891354353983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70BAD0-3B39-4089-AE18-109B92F29113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5D550FE9-DE5E-414D-9F37-93DDCFF48158}">
      <dgm:prSet phldrT="[Text]"/>
      <dgm:spPr/>
      <dgm:t>
        <a:bodyPr/>
        <a:lstStyle/>
        <a:p>
          <a:r>
            <a:rPr lang="en-US" dirty="0" err="1"/>
            <a:t>dfsdfwewrg</a:t>
          </a:r>
          <a:endParaRPr lang="en-US" dirty="0"/>
        </a:p>
      </dgm:t>
    </dgm:pt>
    <dgm:pt modelId="{9363F9E8-ED20-45E8-8A8E-919F9F72A615}" type="parTrans" cxnId="{61CF713F-8073-4D4E-942D-EFAC63C6A455}">
      <dgm:prSet/>
      <dgm:spPr/>
      <dgm:t>
        <a:bodyPr/>
        <a:lstStyle/>
        <a:p>
          <a:endParaRPr lang="de-DE"/>
        </a:p>
      </dgm:t>
    </dgm:pt>
    <dgm:pt modelId="{BDD02A84-8AE2-4934-AE5F-7ABD43ECC747}" type="sibTrans" cxnId="{61CF713F-8073-4D4E-942D-EFAC63C6A455}">
      <dgm:prSet/>
      <dgm:spPr/>
      <dgm:t>
        <a:bodyPr/>
        <a:lstStyle/>
        <a:p>
          <a:endParaRPr lang="de-DE"/>
        </a:p>
      </dgm:t>
    </dgm:pt>
    <dgm:pt modelId="{81B1C5D7-714A-4B3A-94EE-64316D80EAC6}">
      <dgm:prSet phldrT="[Text]"/>
      <dgm:spPr/>
      <dgm:t>
        <a:bodyPr/>
        <a:lstStyle/>
        <a:p>
          <a:r>
            <a:rPr lang="en-US" dirty="0" err="1"/>
            <a:t>ergergre</a:t>
          </a:r>
          <a:endParaRPr lang="en-US" dirty="0"/>
        </a:p>
      </dgm:t>
    </dgm:pt>
    <dgm:pt modelId="{0BCD7097-0781-48DF-B331-A05E29E4A215}" type="parTrans" cxnId="{802BEDAE-48EA-4620-B329-DBF962FF89FF}">
      <dgm:prSet/>
      <dgm:spPr/>
      <dgm:t>
        <a:bodyPr/>
        <a:lstStyle/>
        <a:p>
          <a:endParaRPr lang="de-DE"/>
        </a:p>
      </dgm:t>
    </dgm:pt>
    <dgm:pt modelId="{6BA522B2-102E-498C-A447-789F1FC8FCB6}" type="sibTrans" cxnId="{802BEDAE-48EA-4620-B329-DBF962FF89FF}">
      <dgm:prSet/>
      <dgm:spPr/>
      <dgm:t>
        <a:bodyPr/>
        <a:lstStyle/>
        <a:p>
          <a:endParaRPr lang="de-DE"/>
        </a:p>
      </dgm:t>
    </dgm:pt>
    <dgm:pt modelId="{E9453620-CECD-4D46-A1E9-1E6ADAFCB3C5}">
      <dgm:prSet phldrT="[Text]"/>
      <dgm:spPr/>
      <dgm:t>
        <a:bodyPr/>
        <a:lstStyle/>
        <a:p>
          <a:r>
            <a:rPr lang="en-US" dirty="0" err="1"/>
            <a:t>ergerf</a:t>
          </a:r>
          <a:endParaRPr lang="en-US" dirty="0"/>
        </a:p>
      </dgm:t>
    </dgm:pt>
    <dgm:pt modelId="{344BFD19-C3D4-4120-9257-E5118AE74C40}" type="parTrans" cxnId="{F37C91DA-1B92-4DA6-806E-80ED27511AE9}">
      <dgm:prSet/>
      <dgm:spPr/>
      <dgm:t>
        <a:bodyPr/>
        <a:lstStyle/>
        <a:p>
          <a:endParaRPr lang="de-DE"/>
        </a:p>
      </dgm:t>
    </dgm:pt>
    <dgm:pt modelId="{4342F432-1E5F-4F11-A217-A3C0538C850A}" type="sibTrans" cxnId="{F37C91DA-1B92-4DA6-806E-80ED27511AE9}">
      <dgm:prSet/>
      <dgm:spPr/>
      <dgm:t>
        <a:bodyPr/>
        <a:lstStyle/>
        <a:p>
          <a:endParaRPr lang="de-DE"/>
        </a:p>
      </dgm:t>
    </dgm:pt>
    <dgm:pt modelId="{B20F467A-877E-4C1F-B451-3DD15D448B5C}" type="pres">
      <dgm:prSet presAssocID="{8E70BAD0-3B39-4089-AE18-109B92F29113}" presName="CompostProcess" presStyleCnt="0">
        <dgm:presLayoutVars>
          <dgm:dir/>
          <dgm:resizeHandles val="exact"/>
        </dgm:presLayoutVars>
      </dgm:prSet>
      <dgm:spPr/>
    </dgm:pt>
    <dgm:pt modelId="{94D47BA7-7A7C-4680-9120-96755F9E8F71}" type="pres">
      <dgm:prSet presAssocID="{8E70BAD0-3B39-4089-AE18-109B92F29113}" presName="arrow" presStyleLbl="bgShp" presStyleIdx="0" presStyleCnt="1" custLinFactNeighborX="75090" custLinFactNeighborY="55556"/>
      <dgm:spPr/>
    </dgm:pt>
    <dgm:pt modelId="{AC320CE9-F47E-404C-AE3E-1BBABC78D692}" type="pres">
      <dgm:prSet presAssocID="{8E70BAD0-3B39-4089-AE18-109B92F29113}" presName="linearProcess" presStyleCnt="0"/>
      <dgm:spPr/>
    </dgm:pt>
    <dgm:pt modelId="{B8C805BF-54FD-44A7-9DBF-A587AF172785}" type="pres">
      <dgm:prSet presAssocID="{5D550FE9-DE5E-414D-9F37-93DDCFF48158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74C35E6-5303-4E65-97C9-640CFC4F86A4}" type="pres">
      <dgm:prSet presAssocID="{BDD02A84-8AE2-4934-AE5F-7ABD43ECC747}" presName="sibTrans" presStyleCnt="0"/>
      <dgm:spPr/>
    </dgm:pt>
    <dgm:pt modelId="{26C69EBC-8797-49FF-81A9-D8E5C1EE73AF}" type="pres">
      <dgm:prSet presAssocID="{81B1C5D7-714A-4B3A-94EE-64316D80EAC6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2A61C82-B488-411B-A0EF-CC79CC0CA435}" type="pres">
      <dgm:prSet presAssocID="{6BA522B2-102E-498C-A447-789F1FC8FCB6}" presName="sibTrans" presStyleCnt="0"/>
      <dgm:spPr/>
    </dgm:pt>
    <dgm:pt modelId="{B55E98DD-C010-497B-A737-FD98B3B58EAD}" type="pres">
      <dgm:prSet presAssocID="{E9453620-CECD-4D46-A1E9-1E6ADAFCB3C5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37C91DA-1B92-4DA6-806E-80ED27511AE9}" srcId="{8E70BAD0-3B39-4089-AE18-109B92F29113}" destId="{E9453620-CECD-4D46-A1E9-1E6ADAFCB3C5}" srcOrd="2" destOrd="0" parTransId="{344BFD19-C3D4-4120-9257-E5118AE74C40}" sibTransId="{4342F432-1E5F-4F11-A217-A3C0538C850A}"/>
    <dgm:cxn modelId="{61CF713F-8073-4D4E-942D-EFAC63C6A455}" srcId="{8E70BAD0-3B39-4089-AE18-109B92F29113}" destId="{5D550FE9-DE5E-414D-9F37-93DDCFF48158}" srcOrd="0" destOrd="0" parTransId="{9363F9E8-ED20-45E8-8A8E-919F9F72A615}" sibTransId="{BDD02A84-8AE2-4934-AE5F-7ABD43ECC747}"/>
    <dgm:cxn modelId="{802BEDAE-48EA-4620-B329-DBF962FF89FF}" srcId="{8E70BAD0-3B39-4089-AE18-109B92F29113}" destId="{81B1C5D7-714A-4B3A-94EE-64316D80EAC6}" srcOrd="1" destOrd="0" parTransId="{0BCD7097-0781-48DF-B331-A05E29E4A215}" sibTransId="{6BA522B2-102E-498C-A447-789F1FC8FCB6}"/>
    <dgm:cxn modelId="{C6B0D077-D31F-4C2E-9D51-3110B3D65369}" type="presOf" srcId="{5D550FE9-DE5E-414D-9F37-93DDCFF48158}" destId="{B8C805BF-54FD-44A7-9DBF-A587AF172785}" srcOrd="0" destOrd="0" presId="urn:microsoft.com/office/officeart/2005/8/layout/hProcess9"/>
    <dgm:cxn modelId="{B73C38F1-79F3-4831-AF43-8BAAF09BCE91}" type="presOf" srcId="{E9453620-CECD-4D46-A1E9-1E6ADAFCB3C5}" destId="{B55E98DD-C010-497B-A737-FD98B3B58EAD}" srcOrd="0" destOrd="0" presId="urn:microsoft.com/office/officeart/2005/8/layout/hProcess9"/>
    <dgm:cxn modelId="{A5C54A8A-8478-4D54-AC3C-A37E67BEA644}" type="presOf" srcId="{81B1C5D7-714A-4B3A-94EE-64316D80EAC6}" destId="{26C69EBC-8797-49FF-81A9-D8E5C1EE73AF}" srcOrd="0" destOrd="0" presId="urn:microsoft.com/office/officeart/2005/8/layout/hProcess9"/>
    <dgm:cxn modelId="{F1FA274D-090A-40FB-887A-D2198F5B1EAD}" type="presOf" srcId="{8E70BAD0-3B39-4089-AE18-109B92F29113}" destId="{B20F467A-877E-4C1F-B451-3DD15D448B5C}" srcOrd="0" destOrd="0" presId="urn:microsoft.com/office/officeart/2005/8/layout/hProcess9"/>
    <dgm:cxn modelId="{A2C3D4CE-350B-45C3-B359-4625C5AC80CA}" type="presParOf" srcId="{B20F467A-877E-4C1F-B451-3DD15D448B5C}" destId="{94D47BA7-7A7C-4680-9120-96755F9E8F71}" srcOrd="0" destOrd="0" presId="urn:microsoft.com/office/officeart/2005/8/layout/hProcess9"/>
    <dgm:cxn modelId="{47A9D81C-EF4B-47C8-893D-37594DA144A9}" type="presParOf" srcId="{B20F467A-877E-4C1F-B451-3DD15D448B5C}" destId="{AC320CE9-F47E-404C-AE3E-1BBABC78D692}" srcOrd="1" destOrd="0" presId="urn:microsoft.com/office/officeart/2005/8/layout/hProcess9"/>
    <dgm:cxn modelId="{40692EE3-C0CC-4723-AA81-B8FA9F142FBB}" type="presParOf" srcId="{AC320CE9-F47E-404C-AE3E-1BBABC78D692}" destId="{B8C805BF-54FD-44A7-9DBF-A587AF172785}" srcOrd="0" destOrd="0" presId="urn:microsoft.com/office/officeart/2005/8/layout/hProcess9"/>
    <dgm:cxn modelId="{E05E461B-14CD-49A0-8335-9264110C11D9}" type="presParOf" srcId="{AC320CE9-F47E-404C-AE3E-1BBABC78D692}" destId="{274C35E6-5303-4E65-97C9-640CFC4F86A4}" srcOrd="1" destOrd="0" presId="urn:microsoft.com/office/officeart/2005/8/layout/hProcess9"/>
    <dgm:cxn modelId="{9F765893-0B4F-4251-9E2F-0CCFE1D33C1F}" type="presParOf" srcId="{AC320CE9-F47E-404C-AE3E-1BBABC78D692}" destId="{26C69EBC-8797-49FF-81A9-D8E5C1EE73AF}" srcOrd="2" destOrd="0" presId="urn:microsoft.com/office/officeart/2005/8/layout/hProcess9"/>
    <dgm:cxn modelId="{517D2E6A-3A82-4354-B25E-322EB50E92B3}" type="presParOf" srcId="{AC320CE9-F47E-404C-AE3E-1BBABC78D692}" destId="{42A61C82-B488-411B-A0EF-CC79CC0CA435}" srcOrd="3" destOrd="0" presId="urn:microsoft.com/office/officeart/2005/8/layout/hProcess9"/>
    <dgm:cxn modelId="{83F7B5EA-5FAE-4C2A-A8E4-B11CFFDB6068}" type="presParOf" srcId="{AC320CE9-F47E-404C-AE3E-1BBABC78D692}" destId="{B55E98DD-C010-497B-A737-FD98B3B58EAD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C91B313-8904-4CB6-906D-96993C9340BF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900671E5-E540-4124-B4B5-39BC3E82019F}">
      <dgm:prSet phldrT="[Text]"/>
      <dgm:spPr/>
      <dgm:t>
        <a:bodyPr/>
        <a:lstStyle/>
        <a:p>
          <a:r>
            <a:rPr lang="de-DE" dirty="0"/>
            <a:t>X</a:t>
          </a:r>
        </a:p>
      </dgm:t>
    </dgm:pt>
    <dgm:pt modelId="{79F846FC-7ADE-4D32-8A7D-D4E84FE40D21}" type="parTrans" cxnId="{27F852FC-119B-41AB-9C8C-7DE77C637442}">
      <dgm:prSet/>
      <dgm:spPr/>
      <dgm:t>
        <a:bodyPr/>
        <a:lstStyle/>
        <a:p>
          <a:endParaRPr lang="de-DE"/>
        </a:p>
      </dgm:t>
    </dgm:pt>
    <dgm:pt modelId="{6E836FC7-85C9-4B44-909E-FB3AC8EE4126}" type="sibTrans" cxnId="{27F852FC-119B-41AB-9C8C-7DE77C637442}">
      <dgm:prSet/>
      <dgm:spPr/>
      <dgm:t>
        <a:bodyPr/>
        <a:lstStyle/>
        <a:p>
          <a:endParaRPr lang="de-DE"/>
        </a:p>
      </dgm:t>
    </dgm:pt>
    <dgm:pt modelId="{903B78BB-B4F5-4705-89DB-B20E5C81CE4B}">
      <dgm:prSet phldrT="[Text]"/>
      <dgm:spPr/>
      <dgm:t>
        <a:bodyPr/>
        <a:lstStyle/>
        <a:p>
          <a:r>
            <a:rPr lang="de-DE" dirty="0"/>
            <a:t>X</a:t>
          </a:r>
        </a:p>
      </dgm:t>
    </dgm:pt>
    <dgm:pt modelId="{CDB2C373-2C46-4571-8991-786ABE765E68}" type="parTrans" cxnId="{CE8A1E32-BB66-4776-877E-F122D6AD262E}">
      <dgm:prSet/>
      <dgm:spPr/>
      <dgm:t>
        <a:bodyPr/>
        <a:lstStyle/>
        <a:p>
          <a:endParaRPr lang="de-DE"/>
        </a:p>
      </dgm:t>
    </dgm:pt>
    <dgm:pt modelId="{98B0848D-A9B7-488D-B563-635FF79644DF}" type="sibTrans" cxnId="{CE8A1E32-BB66-4776-877E-F122D6AD262E}">
      <dgm:prSet/>
      <dgm:spPr/>
      <dgm:t>
        <a:bodyPr/>
        <a:lstStyle/>
        <a:p>
          <a:endParaRPr lang="de-DE"/>
        </a:p>
      </dgm:t>
    </dgm:pt>
    <dgm:pt modelId="{435576C8-FB61-4068-A52E-B454BF1B9B93}" type="pres">
      <dgm:prSet presAssocID="{FC91B313-8904-4CB6-906D-96993C9340BF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78D8303-5C9A-4233-B6AC-06B4038813AF}" type="pres">
      <dgm:prSet presAssocID="{900671E5-E540-4124-B4B5-39BC3E82019F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C2ACE2-3F7F-4CC4-A1CE-DA2CB5899515}" type="pres">
      <dgm:prSet presAssocID="{6E836FC7-85C9-4B44-909E-FB3AC8EE4126}" presName="sibTrans" presStyleCnt="0"/>
      <dgm:spPr/>
    </dgm:pt>
    <dgm:pt modelId="{A3EA0E31-1A64-4471-9002-0F9F7A156AC5}" type="pres">
      <dgm:prSet presAssocID="{903B78BB-B4F5-4705-89DB-B20E5C81CE4B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E8A1E32-BB66-4776-877E-F122D6AD262E}" srcId="{FC91B313-8904-4CB6-906D-96993C9340BF}" destId="{903B78BB-B4F5-4705-89DB-B20E5C81CE4B}" srcOrd="1" destOrd="0" parTransId="{CDB2C373-2C46-4571-8991-786ABE765E68}" sibTransId="{98B0848D-A9B7-488D-B563-635FF79644DF}"/>
    <dgm:cxn modelId="{27F852FC-119B-41AB-9C8C-7DE77C637442}" srcId="{FC91B313-8904-4CB6-906D-96993C9340BF}" destId="{900671E5-E540-4124-B4B5-39BC3E82019F}" srcOrd="0" destOrd="0" parTransId="{79F846FC-7ADE-4D32-8A7D-D4E84FE40D21}" sibTransId="{6E836FC7-85C9-4B44-909E-FB3AC8EE4126}"/>
    <dgm:cxn modelId="{6E95525D-4219-4EB5-AA36-EABF4938C088}" type="presOf" srcId="{900671E5-E540-4124-B4B5-39BC3E82019F}" destId="{678D8303-5C9A-4233-B6AC-06B4038813AF}" srcOrd="0" destOrd="0" presId="urn:microsoft.com/office/officeart/2005/8/layout/default"/>
    <dgm:cxn modelId="{0481E469-C0D6-424A-8F75-25F6B54F699B}" type="presOf" srcId="{FC91B313-8904-4CB6-906D-96993C9340BF}" destId="{435576C8-FB61-4068-A52E-B454BF1B9B93}" srcOrd="0" destOrd="0" presId="urn:microsoft.com/office/officeart/2005/8/layout/default"/>
    <dgm:cxn modelId="{548274F7-F388-4C76-AC75-A9BACC46E625}" type="presOf" srcId="{903B78BB-B4F5-4705-89DB-B20E5C81CE4B}" destId="{A3EA0E31-1A64-4471-9002-0F9F7A156AC5}" srcOrd="0" destOrd="0" presId="urn:microsoft.com/office/officeart/2005/8/layout/default"/>
    <dgm:cxn modelId="{852286C1-8507-4F8B-93BC-DD7C9FB20666}" type="presParOf" srcId="{435576C8-FB61-4068-A52E-B454BF1B9B93}" destId="{678D8303-5C9A-4233-B6AC-06B4038813AF}" srcOrd="0" destOrd="0" presId="urn:microsoft.com/office/officeart/2005/8/layout/default"/>
    <dgm:cxn modelId="{649E953E-C7E0-4FD6-B0D1-CB586444CE17}" type="presParOf" srcId="{435576C8-FB61-4068-A52E-B454BF1B9B93}" destId="{6AC2ACE2-3F7F-4CC4-A1CE-DA2CB5899515}" srcOrd="1" destOrd="0" presId="urn:microsoft.com/office/officeart/2005/8/layout/default"/>
    <dgm:cxn modelId="{8667DABF-B611-4192-A2D1-2FA5A672991B}" type="presParOf" srcId="{435576C8-FB61-4068-A52E-B454BF1B9B93}" destId="{A3EA0E31-1A64-4471-9002-0F9F7A156AC5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E70BAD0-3B39-4089-AE18-109B92F29113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5D550FE9-DE5E-414D-9F37-93DDCFF48158}">
      <dgm:prSet phldrT="[Text]"/>
      <dgm:spPr/>
      <dgm:t>
        <a:bodyPr/>
        <a:lstStyle/>
        <a:p>
          <a:r>
            <a:rPr lang="de-DE" dirty="0" err="1"/>
            <a:t>dfsdfwewrg</a:t>
          </a:r>
          <a:endParaRPr lang="de-DE" dirty="0"/>
        </a:p>
      </dgm:t>
    </dgm:pt>
    <dgm:pt modelId="{9363F9E8-ED20-45E8-8A8E-919F9F72A615}" type="parTrans" cxnId="{61CF713F-8073-4D4E-942D-EFAC63C6A455}">
      <dgm:prSet/>
      <dgm:spPr/>
      <dgm:t>
        <a:bodyPr/>
        <a:lstStyle/>
        <a:p>
          <a:endParaRPr lang="de-DE"/>
        </a:p>
      </dgm:t>
    </dgm:pt>
    <dgm:pt modelId="{BDD02A84-8AE2-4934-AE5F-7ABD43ECC747}" type="sibTrans" cxnId="{61CF713F-8073-4D4E-942D-EFAC63C6A455}">
      <dgm:prSet/>
      <dgm:spPr/>
      <dgm:t>
        <a:bodyPr/>
        <a:lstStyle/>
        <a:p>
          <a:endParaRPr lang="de-DE"/>
        </a:p>
      </dgm:t>
    </dgm:pt>
    <dgm:pt modelId="{81B1C5D7-714A-4B3A-94EE-64316D80EAC6}">
      <dgm:prSet phldrT="[Text]"/>
      <dgm:spPr/>
      <dgm:t>
        <a:bodyPr/>
        <a:lstStyle/>
        <a:p>
          <a:r>
            <a:rPr lang="de-DE" dirty="0" err="1"/>
            <a:t>ergergre</a:t>
          </a:r>
          <a:endParaRPr lang="de-DE" dirty="0"/>
        </a:p>
      </dgm:t>
    </dgm:pt>
    <dgm:pt modelId="{0BCD7097-0781-48DF-B331-A05E29E4A215}" type="parTrans" cxnId="{802BEDAE-48EA-4620-B329-DBF962FF89FF}">
      <dgm:prSet/>
      <dgm:spPr/>
      <dgm:t>
        <a:bodyPr/>
        <a:lstStyle/>
        <a:p>
          <a:endParaRPr lang="de-DE"/>
        </a:p>
      </dgm:t>
    </dgm:pt>
    <dgm:pt modelId="{6BA522B2-102E-498C-A447-789F1FC8FCB6}" type="sibTrans" cxnId="{802BEDAE-48EA-4620-B329-DBF962FF89FF}">
      <dgm:prSet/>
      <dgm:spPr/>
      <dgm:t>
        <a:bodyPr/>
        <a:lstStyle/>
        <a:p>
          <a:endParaRPr lang="de-DE"/>
        </a:p>
      </dgm:t>
    </dgm:pt>
    <dgm:pt modelId="{E9453620-CECD-4D46-A1E9-1E6ADAFCB3C5}">
      <dgm:prSet phldrT="[Text]"/>
      <dgm:spPr/>
      <dgm:t>
        <a:bodyPr/>
        <a:lstStyle/>
        <a:p>
          <a:r>
            <a:rPr lang="de-DE" dirty="0" err="1"/>
            <a:t>ergerf</a:t>
          </a:r>
          <a:endParaRPr lang="de-DE" dirty="0"/>
        </a:p>
      </dgm:t>
    </dgm:pt>
    <dgm:pt modelId="{344BFD19-C3D4-4120-9257-E5118AE74C40}" type="parTrans" cxnId="{F37C91DA-1B92-4DA6-806E-80ED27511AE9}">
      <dgm:prSet/>
      <dgm:spPr/>
      <dgm:t>
        <a:bodyPr/>
        <a:lstStyle/>
        <a:p>
          <a:endParaRPr lang="de-DE"/>
        </a:p>
      </dgm:t>
    </dgm:pt>
    <dgm:pt modelId="{4342F432-1E5F-4F11-A217-A3C0538C850A}" type="sibTrans" cxnId="{F37C91DA-1B92-4DA6-806E-80ED27511AE9}">
      <dgm:prSet/>
      <dgm:spPr/>
      <dgm:t>
        <a:bodyPr/>
        <a:lstStyle/>
        <a:p>
          <a:endParaRPr lang="de-DE"/>
        </a:p>
      </dgm:t>
    </dgm:pt>
    <dgm:pt modelId="{B20F467A-877E-4C1F-B451-3DD15D448B5C}" type="pres">
      <dgm:prSet presAssocID="{8E70BAD0-3B39-4089-AE18-109B92F29113}" presName="CompostProcess" presStyleCnt="0">
        <dgm:presLayoutVars>
          <dgm:dir/>
          <dgm:resizeHandles val="exact"/>
        </dgm:presLayoutVars>
      </dgm:prSet>
      <dgm:spPr/>
    </dgm:pt>
    <dgm:pt modelId="{94D47BA7-7A7C-4680-9120-96755F9E8F71}" type="pres">
      <dgm:prSet presAssocID="{8E70BAD0-3B39-4089-AE18-109B92F29113}" presName="arrow" presStyleLbl="bgShp" presStyleIdx="0" presStyleCnt="1"/>
      <dgm:spPr/>
    </dgm:pt>
    <dgm:pt modelId="{AC320CE9-F47E-404C-AE3E-1BBABC78D692}" type="pres">
      <dgm:prSet presAssocID="{8E70BAD0-3B39-4089-AE18-109B92F29113}" presName="linearProcess" presStyleCnt="0"/>
      <dgm:spPr/>
    </dgm:pt>
    <dgm:pt modelId="{B8C805BF-54FD-44A7-9DBF-A587AF172785}" type="pres">
      <dgm:prSet presAssocID="{5D550FE9-DE5E-414D-9F37-93DDCFF48158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74C35E6-5303-4E65-97C9-640CFC4F86A4}" type="pres">
      <dgm:prSet presAssocID="{BDD02A84-8AE2-4934-AE5F-7ABD43ECC747}" presName="sibTrans" presStyleCnt="0"/>
      <dgm:spPr/>
    </dgm:pt>
    <dgm:pt modelId="{26C69EBC-8797-49FF-81A9-D8E5C1EE73AF}" type="pres">
      <dgm:prSet presAssocID="{81B1C5D7-714A-4B3A-94EE-64316D80EAC6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2A61C82-B488-411B-A0EF-CC79CC0CA435}" type="pres">
      <dgm:prSet presAssocID="{6BA522B2-102E-498C-A447-789F1FC8FCB6}" presName="sibTrans" presStyleCnt="0"/>
      <dgm:spPr/>
    </dgm:pt>
    <dgm:pt modelId="{B55E98DD-C010-497B-A737-FD98B3B58EAD}" type="pres">
      <dgm:prSet presAssocID="{E9453620-CECD-4D46-A1E9-1E6ADAFCB3C5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37C91DA-1B92-4DA6-806E-80ED27511AE9}" srcId="{8E70BAD0-3B39-4089-AE18-109B92F29113}" destId="{E9453620-CECD-4D46-A1E9-1E6ADAFCB3C5}" srcOrd="2" destOrd="0" parTransId="{344BFD19-C3D4-4120-9257-E5118AE74C40}" sibTransId="{4342F432-1E5F-4F11-A217-A3C0538C850A}"/>
    <dgm:cxn modelId="{61CF713F-8073-4D4E-942D-EFAC63C6A455}" srcId="{8E70BAD0-3B39-4089-AE18-109B92F29113}" destId="{5D550FE9-DE5E-414D-9F37-93DDCFF48158}" srcOrd="0" destOrd="0" parTransId="{9363F9E8-ED20-45E8-8A8E-919F9F72A615}" sibTransId="{BDD02A84-8AE2-4934-AE5F-7ABD43ECC747}"/>
    <dgm:cxn modelId="{802BEDAE-48EA-4620-B329-DBF962FF89FF}" srcId="{8E70BAD0-3B39-4089-AE18-109B92F29113}" destId="{81B1C5D7-714A-4B3A-94EE-64316D80EAC6}" srcOrd="1" destOrd="0" parTransId="{0BCD7097-0781-48DF-B331-A05E29E4A215}" sibTransId="{6BA522B2-102E-498C-A447-789F1FC8FCB6}"/>
    <dgm:cxn modelId="{C6B0D077-D31F-4C2E-9D51-3110B3D65369}" type="presOf" srcId="{5D550FE9-DE5E-414D-9F37-93DDCFF48158}" destId="{B8C805BF-54FD-44A7-9DBF-A587AF172785}" srcOrd="0" destOrd="0" presId="urn:microsoft.com/office/officeart/2005/8/layout/hProcess9"/>
    <dgm:cxn modelId="{B73C38F1-79F3-4831-AF43-8BAAF09BCE91}" type="presOf" srcId="{E9453620-CECD-4D46-A1E9-1E6ADAFCB3C5}" destId="{B55E98DD-C010-497B-A737-FD98B3B58EAD}" srcOrd="0" destOrd="0" presId="urn:microsoft.com/office/officeart/2005/8/layout/hProcess9"/>
    <dgm:cxn modelId="{A5C54A8A-8478-4D54-AC3C-A37E67BEA644}" type="presOf" srcId="{81B1C5D7-714A-4B3A-94EE-64316D80EAC6}" destId="{26C69EBC-8797-49FF-81A9-D8E5C1EE73AF}" srcOrd="0" destOrd="0" presId="urn:microsoft.com/office/officeart/2005/8/layout/hProcess9"/>
    <dgm:cxn modelId="{F1FA274D-090A-40FB-887A-D2198F5B1EAD}" type="presOf" srcId="{8E70BAD0-3B39-4089-AE18-109B92F29113}" destId="{B20F467A-877E-4C1F-B451-3DD15D448B5C}" srcOrd="0" destOrd="0" presId="urn:microsoft.com/office/officeart/2005/8/layout/hProcess9"/>
    <dgm:cxn modelId="{A2C3D4CE-350B-45C3-B359-4625C5AC80CA}" type="presParOf" srcId="{B20F467A-877E-4C1F-B451-3DD15D448B5C}" destId="{94D47BA7-7A7C-4680-9120-96755F9E8F71}" srcOrd="0" destOrd="0" presId="urn:microsoft.com/office/officeart/2005/8/layout/hProcess9"/>
    <dgm:cxn modelId="{47A9D81C-EF4B-47C8-893D-37594DA144A9}" type="presParOf" srcId="{B20F467A-877E-4C1F-B451-3DD15D448B5C}" destId="{AC320CE9-F47E-404C-AE3E-1BBABC78D692}" srcOrd="1" destOrd="0" presId="urn:microsoft.com/office/officeart/2005/8/layout/hProcess9"/>
    <dgm:cxn modelId="{40692EE3-C0CC-4723-AA81-B8FA9F142FBB}" type="presParOf" srcId="{AC320CE9-F47E-404C-AE3E-1BBABC78D692}" destId="{B8C805BF-54FD-44A7-9DBF-A587AF172785}" srcOrd="0" destOrd="0" presId="urn:microsoft.com/office/officeart/2005/8/layout/hProcess9"/>
    <dgm:cxn modelId="{E05E461B-14CD-49A0-8335-9264110C11D9}" type="presParOf" srcId="{AC320CE9-F47E-404C-AE3E-1BBABC78D692}" destId="{274C35E6-5303-4E65-97C9-640CFC4F86A4}" srcOrd="1" destOrd="0" presId="urn:microsoft.com/office/officeart/2005/8/layout/hProcess9"/>
    <dgm:cxn modelId="{9F765893-0B4F-4251-9E2F-0CCFE1D33C1F}" type="presParOf" srcId="{AC320CE9-F47E-404C-AE3E-1BBABC78D692}" destId="{26C69EBC-8797-49FF-81A9-D8E5C1EE73AF}" srcOrd="2" destOrd="0" presId="urn:microsoft.com/office/officeart/2005/8/layout/hProcess9"/>
    <dgm:cxn modelId="{517D2E6A-3A82-4354-B25E-322EB50E92B3}" type="presParOf" srcId="{AC320CE9-F47E-404C-AE3E-1BBABC78D692}" destId="{42A61C82-B488-411B-A0EF-CC79CC0CA435}" srcOrd="3" destOrd="0" presId="urn:microsoft.com/office/officeart/2005/8/layout/hProcess9"/>
    <dgm:cxn modelId="{83F7B5EA-5FAE-4C2A-A8E4-B11CFFDB6068}" type="presParOf" srcId="{AC320CE9-F47E-404C-AE3E-1BBABC78D692}" destId="{B55E98DD-C010-497B-A737-FD98B3B58EAD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D47BA7-7A7C-4680-9120-96755F9E8F71}">
      <dsp:nvSpPr>
        <dsp:cNvPr id="0" name=""/>
        <dsp:cNvSpPr/>
      </dsp:nvSpPr>
      <dsp:spPr>
        <a:xfrm>
          <a:off x="1219199" y="0"/>
          <a:ext cx="6908800" cy="3923868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C805BF-54FD-44A7-9DBF-A587AF172785}">
      <dsp:nvSpPr>
        <dsp:cNvPr id="0" name=""/>
        <dsp:cNvSpPr/>
      </dsp:nvSpPr>
      <dsp:spPr>
        <a:xfrm>
          <a:off x="4266" y="1177160"/>
          <a:ext cx="2560439" cy="156954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 err="1"/>
            <a:t>dfsdfwewrg</a:t>
          </a:r>
          <a:endParaRPr lang="en-US" sz="3500" kern="1200" dirty="0"/>
        </a:p>
      </dsp:txBody>
      <dsp:txXfrm>
        <a:off x="80885" y="1253779"/>
        <a:ext cx="2407201" cy="1416309"/>
      </dsp:txXfrm>
    </dsp:sp>
    <dsp:sp modelId="{26C69EBC-8797-49FF-81A9-D8E5C1EE73AF}">
      <dsp:nvSpPr>
        <dsp:cNvPr id="0" name=""/>
        <dsp:cNvSpPr/>
      </dsp:nvSpPr>
      <dsp:spPr>
        <a:xfrm>
          <a:off x="2783780" y="1177160"/>
          <a:ext cx="2560439" cy="156954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 err="1"/>
            <a:t>ergergre</a:t>
          </a:r>
          <a:endParaRPr lang="en-US" sz="3500" kern="1200" dirty="0"/>
        </a:p>
      </dsp:txBody>
      <dsp:txXfrm>
        <a:off x="2860399" y="1253779"/>
        <a:ext cx="2407201" cy="1416309"/>
      </dsp:txXfrm>
    </dsp:sp>
    <dsp:sp modelId="{B55E98DD-C010-497B-A737-FD98B3B58EAD}">
      <dsp:nvSpPr>
        <dsp:cNvPr id="0" name=""/>
        <dsp:cNvSpPr/>
      </dsp:nvSpPr>
      <dsp:spPr>
        <a:xfrm>
          <a:off x="5563294" y="1177160"/>
          <a:ext cx="2560439" cy="156954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 err="1"/>
            <a:t>ergerf</a:t>
          </a:r>
          <a:endParaRPr lang="en-US" sz="3500" kern="1200" dirty="0"/>
        </a:p>
      </dsp:txBody>
      <dsp:txXfrm>
        <a:off x="5639913" y="1253779"/>
        <a:ext cx="2407201" cy="141630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8D8303-5C9A-4233-B6AC-06B4038813AF}">
      <dsp:nvSpPr>
        <dsp:cNvPr id="0" name=""/>
        <dsp:cNvSpPr/>
      </dsp:nvSpPr>
      <dsp:spPr>
        <a:xfrm>
          <a:off x="151" y="205416"/>
          <a:ext cx="592521" cy="3555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/>
            <a:t>X</a:t>
          </a:r>
        </a:p>
      </dsp:txBody>
      <dsp:txXfrm>
        <a:off x="151" y="205416"/>
        <a:ext cx="592521" cy="355513"/>
      </dsp:txXfrm>
    </dsp:sp>
    <dsp:sp modelId="{A3EA0E31-1A64-4471-9002-0F9F7A156AC5}">
      <dsp:nvSpPr>
        <dsp:cNvPr id="0" name=""/>
        <dsp:cNvSpPr/>
      </dsp:nvSpPr>
      <dsp:spPr>
        <a:xfrm>
          <a:off x="651926" y="205416"/>
          <a:ext cx="592521" cy="3555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/>
            <a:t>X</a:t>
          </a:r>
        </a:p>
      </dsp:txBody>
      <dsp:txXfrm>
        <a:off x="651926" y="205416"/>
        <a:ext cx="592521" cy="3555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D47BA7-7A7C-4680-9120-96755F9E8F71}">
      <dsp:nvSpPr>
        <dsp:cNvPr id="0" name=""/>
        <dsp:cNvSpPr/>
      </dsp:nvSpPr>
      <dsp:spPr>
        <a:xfrm>
          <a:off x="298735" y="0"/>
          <a:ext cx="3385664" cy="1972877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C805BF-54FD-44A7-9DBF-A587AF172785}">
      <dsp:nvSpPr>
        <dsp:cNvPr id="0" name=""/>
        <dsp:cNvSpPr/>
      </dsp:nvSpPr>
      <dsp:spPr>
        <a:xfrm>
          <a:off x="4278" y="591863"/>
          <a:ext cx="1282071" cy="7891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err="1"/>
            <a:t>dfsdfwewrg</a:t>
          </a:r>
          <a:endParaRPr lang="de-DE" sz="1700" kern="1200" dirty="0"/>
        </a:p>
      </dsp:txBody>
      <dsp:txXfrm>
        <a:off x="42801" y="630386"/>
        <a:ext cx="1205025" cy="712104"/>
      </dsp:txXfrm>
    </dsp:sp>
    <dsp:sp modelId="{26C69EBC-8797-49FF-81A9-D8E5C1EE73AF}">
      <dsp:nvSpPr>
        <dsp:cNvPr id="0" name=""/>
        <dsp:cNvSpPr/>
      </dsp:nvSpPr>
      <dsp:spPr>
        <a:xfrm>
          <a:off x="1350531" y="591863"/>
          <a:ext cx="1282071" cy="7891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err="1"/>
            <a:t>ergergre</a:t>
          </a:r>
          <a:endParaRPr lang="de-DE" sz="1700" kern="1200" dirty="0"/>
        </a:p>
      </dsp:txBody>
      <dsp:txXfrm>
        <a:off x="1389054" y="630386"/>
        <a:ext cx="1205025" cy="712104"/>
      </dsp:txXfrm>
    </dsp:sp>
    <dsp:sp modelId="{B55E98DD-C010-497B-A737-FD98B3B58EAD}">
      <dsp:nvSpPr>
        <dsp:cNvPr id="0" name=""/>
        <dsp:cNvSpPr/>
      </dsp:nvSpPr>
      <dsp:spPr>
        <a:xfrm>
          <a:off x="2696784" y="591863"/>
          <a:ext cx="1282071" cy="7891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err="1"/>
            <a:t>ergerf</a:t>
          </a:r>
          <a:endParaRPr lang="de-DE" sz="1700" kern="1200" dirty="0"/>
        </a:p>
      </dsp:txBody>
      <dsp:txXfrm>
        <a:off x="2735307" y="630386"/>
        <a:ext cx="1205025" cy="7121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image" Target="../media/image1.emf"/><Relationship Id="rId4" Type="http://schemas.openxmlformats.org/officeDocument/2006/relationships/image" Target="../media/image5.w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400" max="2560" units="cm"/>
          <inkml:channel name="Y" type="integer" max="1500" units="cm"/>
          <inkml:channel name="T" type="integer" max="2.14748E9" units="dev"/>
        </inkml:traceFormat>
        <inkml:channelProperties>
          <inkml:channelProperty channel="X" name="resolution" value="160.51779" units="1/cm"/>
          <inkml:channelProperty channel="Y" name="resolution" value="86.20689" units="1/cm"/>
          <inkml:channelProperty channel="T" name="resolution" value="1" units="1/dev"/>
        </inkml:channelProperties>
      </inkml:inkSource>
      <inkml:timestamp xml:id="ts0" timeString="2020-06-27T18:40:59.398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9221 9446 0,'0'0'0,"-53"0"15,-53 0-15,-13 26 16,-13-13-16,13 14 16,-27-1-16,-13 1 0,40-1 15,-40 27-15,1-26 16,39 25-16,39 1 15,41-26-15,12-14 16,27 13-16,0 1 16,0-14-16,53 27 15,66 39-15,0-39 16,-13 0-16,-53-27 16,40 0-1,-67-13-15,-66 0 31,-39-40-15,-14 1-16,-26-1 16,27 0-16,12 1 15,27 12-15,53 1 16,-13-27-16,13-13 16,0-27-16,13 40 15,54-39-15,12 25 16,13 14-16,41 40 15,-14 0-15,-27 13 16,41 0-16,-41 0 16,14 13-16,13 27 15,-39-14-15,12 54 16,-12-14-16,12 13 0,-39 1 16,0-27-1,-13 26-15,-1 27 0,-12-40 16,-14 13-16,-13-39 15,0 26-15,13 14 16,-13 52 0,14-119-16,12 27 0,-13-27 15,27 0-15,13 14 16,26-14-16,14 27 16,39-14-16,-39-13 15,52 27-15,-52-27 16,-14-13-16,-13 0 15,-13 0-15,-13 0 0,-27 0 16,-13-13 31,0-14-31,0 14-1,-13 13-15,-13 0 16,-41-13-16,-52-13 15,-39-27-15,-28 0 16,-12 26-16,-53-39 16,-1 26-16,67 27 15,-66-53-15,52 53 16,14-67-16,66 41 0,0-54 16,106 40-16,-1 0 15,14-13-15,40 26 16,26-39-16,40 0 15,-27 13-15,41-27 16,-41 53-16,13-26 16,14 0-16,-40 40 15,40-14-15,-66 27 16,0 13-16,39 0 16,-39 0-16,-40 13 15,13-13-15,-13 26 31,0 1-15,0 39-16,-13 27 16,-27 26-16,-13 13 0,40-79 15,-53 106-15,13-67 16,-40 40-16,40-79 16,-26 27-16,-40-27 15,40-40-15,12-13 16,54 0-16,-13 0 15,-1 0 1,27-13-16,-13-1 0,13 1 16,0 0-1,0-13-15,0 12 16,0-25-16,0-14 16,13 26-16,-13-26 15,0-13-15,0 26 0,0-26 16,0 27-16,0-1 15,0 13-15,0 14 32,13 13-17,80-26 1,13-1-16,145 1 0,67 26 16,12-27-16,-105 27 15,66 0-15,-52 0 16,-41 0-16,-39 0 15,-67 0-15,-65 0 0,-1 0 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63609A-8A70-4963-B7F7-B1BC725097C5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8B572-B53F-42BD-B169-79BDB20AC9A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4170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E785BC-267D-4D72-802A-72E65D3984C5}" type="datetime1">
              <a:rPr lang="en-US" smtClean="0"/>
              <a:t>7/21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6213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02C829-D144-4F58-B998-38181FE2FB49}" type="datetime1">
              <a:rPr lang="en-US" smtClean="0"/>
              <a:t>7/21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649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2CE19-D45A-459C-8100-A0974FC1EECD}" type="datetime1">
              <a:rPr lang="en-US" smtClean="0"/>
              <a:t>7/21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6653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7009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8186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4441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5406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1797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577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0855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769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8DD609-9492-45C6-B115-851EE4D74A27}" type="datetime1">
              <a:rPr lang="en-US" smtClean="0"/>
              <a:t>7/21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3513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7771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9008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4435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2099733"/>
            <a:ext cx="8825658" cy="2677648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0158984" y="1792224"/>
            <a:ext cx="990599" cy="3047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8951976" y="3227832"/>
            <a:ext cx="3859795" cy="304801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52540" y="295729"/>
            <a:ext cx="838199" cy="767687"/>
          </a:xfrm>
        </p:spPr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7682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4954" y="2603500"/>
            <a:ext cx="8825659" cy="34163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0848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Rectangle 9"/>
            <p:cNvSpPr/>
            <p:nvPr/>
          </p:nvSpPr>
          <p:spPr bwMode="gray">
            <a:xfrm>
              <a:off x="7289800" y="402165"/>
              <a:ext cx="44788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5"/>
            <p:cNvSpPr/>
            <p:nvPr/>
          </p:nvSpPr>
          <p:spPr bwMode="gray">
            <a:xfrm rot="16200000">
              <a:off x="3787244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5922489">
              <a:off x="4698352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677645"/>
            <a:ext cx="4351025" cy="2283824"/>
          </a:xfrm>
        </p:spPr>
        <p:txBody>
          <a:bodyPr anchor="ctr"/>
          <a:lstStyle>
            <a:lvl1pPr algn="l">
              <a:defRPr sz="4000" b="0" cap="none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2677644"/>
            <a:ext cx="3757545" cy="228382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7226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54954" y="2603500"/>
            <a:ext cx="4825158" cy="3416301"/>
          </a:xfrm>
        </p:spPr>
        <p:txBody>
          <a:bodyPr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2" y="2603500"/>
            <a:ext cx="4825159" cy="3416300"/>
          </a:xfrm>
        </p:spPr>
        <p:txBody>
          <a:bodyPr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4370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482515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4954" y="3179762"/>
            <a:ext cx="4825158" cy="2840039"/>
          </a:xfrm>
        </p:spPr>
        <p:txBody>
          <a:bodyPr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8712" y="2603500"/>
            <a:ext cx="482515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2" y="3179762"/>
            <a:ext cx="4825159" cy="284003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7135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761413" cy="70696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3325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9248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15C42-EFF0-4BD6-921E-7CF21CC16B4C}" type="datetime1">
              <a:rPr lang="en-US" smtClean="0"/>
              <a:t>7/21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2934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5713412" y="402165"/>
              <a:ext cx="6055253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Freeform 5"/>
            <p:cNvSpPr/>
            <p:nvPr/>
          </p:nvSpPr>
          <p:spPr bwMode="gray">
            <a:xfrm rot="15922489">
              <a:off x="3140485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2229377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295400"/>
            <a:ext cx="2793158" cy="16002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1146" y="1447800"/>
            <a:ext cx="5190066" cy="4572000"/>
          </a:xfrm>
        </p:spPr>
        <p:txBody>
          <a:bodyPr anchor="ctr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129280"/>
            <a:ext cx="2793158" cy="2895599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2118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6172200" y="402165"/>
              <a:ext cx="55964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5"/>
            <p:cNvSpPr/>
            <p:nvPr/>
          </p:nvSpPr>
          <p:spPr bwMode="gray">
            <a:xfrm rot="15922489">
              <a:off x="4203594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32954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693333"/>
            <a:ext cx="3865134" cy="173566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47870" y="1143000"/>
            <a:ext cx="3227193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marL="0" lvl="0" indent="0" algn="ctr">
              <a:buNone/>
            </a:pPr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657600"/>
            <a:ext cx="3859212" cy="13716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6984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4969927"/>
            <a:ext cx="8825659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4" y="685800"/>
            <a:ext cx="8825659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536665"/>
            <a:ext cx="8825658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7/2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970714"/>
      </p:ext>
    </p:extLst>
  </p:cSld>
  <p:clrMapOvr>
    <a:masterClrMapping/>
  </p:clrMapOvr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Freeform 5"/>
            <p:cNvSpPr/>
            <p:nvPr/>
          </p:nvSpPr>
          <p:spPr bwMode="gray">
            <a:xfrm rot="21010068">
              <a:off x="8490951" y="271487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7" name="Freeform 5"/>
            <p:cNvSpPr/>
            <p:nvPr/>
          </p:nvSpPr>
          <p:spPr bwMode="gray">
            <a:xfrm>
              <a:off x="455612" y="2801319"/>
              <a:ext cx="11277600" cy="3602637"/>
            </a:xfrm>
            <a:custGeom>
              <a:avLst/>
              <a:gdLst/>
              <a:ahLst/>
              <a:cxnLst/>
              <a:rect l="l" t="t" r="r" b="b"/>
              <a:pathLst>
                <a:path w="10000" h="7946">
                  <a:moveTo>
                    <a:pt x="0" y="0"/>
                  </a:moveTo>
                  <a:lnTo>
                    <a:pt x="0" y="7945"/>
                  </a:lnTo>
                  <a:lnTo>
                    <a:pt x="10000" y="7946"/>
                  </a:lnTo>
                  <a:lnTo>
                    <a:pt x="10000" y="4"/>
                  </a:lnTo>
                  <a:lnTo>
                    <a:pt x="10000" y="4"/>
                  </a:lnTo>
                  <a:lnTo>
                    <a:pt x="9773" y="91"/>
                  </a:lnTo>
                  <a:lnTo>
                    <a:pt x="9547" y="175"/>
                  </a:lnTo>
                  <a:lnTo>
                    <a:pt x="9320" y="256"/>
                  </a:lnTo>
                  <a:lnTo>
                    <a:pt x="9092" y="326"/>
                  </a:lnTo>
                  <a:lnTo>
                    <a:pt x="8865" y="396"/>
                  </a:lnTo>
                  <a:lnTo>
                    <a:pt x="8637" y="462"/>
                  </a:lnTo>
                  <a:lnTo>
                    <a:pt x="8412" y="518"/>
                  </a:lnTo>
                  <a:lnTo>
                    <a:pt x="8184" y="571"/>
                  </a:lnTo>
                  <a:lnTo>
                    <a:pt x="7957" y="620"/>
                  </a:lnTo>
                  <a:lnTo>
                    <a:pt x="7734" y="662"/>
                  </a:lnTo>
                  <a:lnTo>
                    <a:pt x="7508" y="704"/>
                  </a:lnTo>
                  <a:lnTo>
                    <a:pt x="7285" y="739"/>
                  </a:lnTo>
                  <a:lnTo>
                    <a:pt x="7062" y="767"/>
                  </a:lnTo>
                  <a:lnTo>
                    <a:pt x="6840" y="795"/>
                  </a:lnTo>
                  <a:lnTo>
                    <a:pt x="6620" y="819"/>
                  </a:lnTo>
                  <a:lnTo>
                    <a:pt x="6402" y="837"/>
                  </a:lnTo>
                  <a:lnTo>
                    <a:pt x="6184" y="851"/>
                  </a:lnTo>
                  <a:lnTo>
                    <a:pt x="5968" y="865"/>
                  </a:lnTo>
                  <a:lnTo>
                    <a:pt x="5755" y="872"/>
                  </a:lnTo>
                  <a:lnTo>
                    <a:pt x="5542" y="879"/>
                  </a:lnTo>
                  <a:lnTo>
                    <a:pt x="5332" y="882"/>
                  </a:lnTo>
                  <a:lnTo>
                    <a:pt x="5124" y="879"/>
                  </a:lnTo>
                  <a:lnTo>
                    <a:pt x="4918" y="879"/>
                  </a:lnTo>
                  <a:lnTo>
                    <a:pt x="4714" y="872"/>
                  </a:lnTo>
                  <a:lnTo>
                    <a:pt x="4514" y="861"/>
                  </a:lnTo>
                  <a:lnTo>
                    <a:pt x="4316" y="851"/>
                  </a:lnTo>
                  <a:lnTo>
                    <a:pt x="4122" y="840"/>
                  </a:lnTo>
                  <a:lnTo>
                    <a:pt x="3929" y="823"/>
                  </a:lnTo>
                  <a:lnTo>
                    <a:pt x="3739" y="805"/>
                  </a:lnTo>
                  <a:lnTo>
                    <a:pt x="3553" y="788"/>
                  </a:lnTo>
                  <a:lnTo>
                    <a:pt x="3190" y="742"/>
                  </a:lnTo>
                  <a:lnTo>
                    <a:pt x="2842" y="693"/>
                  </a:lnTo>
                  <a:lnTo>
                    <a:pt x="2508" y="641"/>
                  </a:lnTo>
                  <a:lnTo>
                    <a:pt x="2192" y="585"/>
                  </a:lnTo>
                  <a:lnTo>
                    <a:pt x="1890" y="525"/>
                  </a:lnTo>
                  <a:lnTo>
                    <a:pt x="1610" y="462"/>
                  </a:lnTo>
                  <a:lnTo>
                    <a:pt x="1347" y="399"/>
                  </a:lnTo>
                  <a:lnTo>
                    <a:pt x="1105" y="336"/>
                  </a:lnTo>
                  <a:lnTo>
                    <a:pt x="883" y="277"/>
                  </a:lnTo>
                  <a:lnTo>
                    <a:pt x="686" y="221"/>
                  </a:lnTo>
                  <a:lnTo>
                    <a:pt x="508" y="168"/>
                  </a:lnTo>
                  <a:lnTo>
                    <a:pt x="358" y="123"/>
                  </a:lnTo>
                  <a:lnTo>
                    <a:pt x="232" y="81"/>
                  </a:lnTo>
                  <a:lnTo>
                    <a:pt x="59" y="2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8798" y="1063417"/>
            <a:ext cx="8831816" cy="137298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543300"/>
            <a:ext cx="8825659" cy="24765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7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602119"/>
      </p:ext>
    </p:extLst>
  </p:cSld>
  <p:clrMapOvr>
    <a:masterClrMapping/>
  </p:clrMapOvr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7" name="Rectangle 1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Oval 22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Oval 23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Oval 24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Freeform 5"/>
            <p:cNvSpPr/>
            <p:nvPr/>
          </p:nvSpPr>
          <p:spPr bwMode="gray">
            <a:xfrm rot="21010068">
              <a:off x="8490951" y="41851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8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6" name="TextBox 15"/>
          <p:cNvSpPr txBox="1"/>
          <p:nvPr/>
        </p:nvSpPr>
        <p:spPr bwMode="gray">
          <a:xfrm>
            <a:off x="881566" y="607336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9884458" y="2613787"/>
            <a:ext cx="6527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878" y="982134"/>
            <a:ext cx="8453906" cy="2696632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945945" y="3678766"/>
            <a:ext cx="773121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029199"/>
            <a:ext cx="9244897" cy="997857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7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691241"/>
      </p:ext>
    </p:extLst>
  </p:cSld>
  <p:clrMapOvr>
    <a:masterClrMapping/>
  </p:clrMapOvr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ns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5"/>
            <p:cNvSpPr/>
            <p:nvPr/>
          </p:nvSpPr>
          <p:spPr bwMode="gray">
            <a:xfrm rot="21010068">
              <a:off x="8490951" y="4193583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370667"/>
            <a:ext cx="8825660" cy="1822514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5024967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7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380162"/>
      </p:ext>
    </p:extLst>
  </p:cSld>
  <p:clrMapOvr>
    <a:masterClrMapping/>
  </p:clrMapOvr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2"/>
            <a:ext cx="314187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54953" y="3179764"/>
            <a:ext cx="314187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2721" y="2603500"/>
            <a:ext cx="314700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12721" y="3179763"/>
            <a:ext cx="314700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88135" y="2603501"/>
            <a:ext cx="314573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88329" y="3179762"/>
            <a:ext cx="3145536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40397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77240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7/2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716171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532844"/>
            <a:ext cx="30504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4553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54954" y="5109106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865" y="4532844"/>
            <a:ext cx="3050438" cy="576263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1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748462" y="2603500"/>
            <a:ext cx="2691243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70172" y="5109105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82775" y="4532845"/>
            <a:ext cx="305109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2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63031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82775" y="5109104"/>
            <a:ext cx="3051096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440583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7797802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7/2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61111" y="6391838"/>
            <a:ext cx="3644282" cy="304801"/>
          </a:xfrm>
        </p:spPr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522519"/>
      </p:ext>
    </p:extLst>
  </p:cSld>
  <p:clrMapOvr>
    <a:masterClrMapping/>
  </p:clrMapOvr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2603500"/>
            <a:ext cx="8825659" cy="3416300"/>
          </a:xfrm>
        </p:spPr>
        <p:txBody>
          <a:bodyPr vert="eaVert" anchor="t" anchorCtr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95439" y="6391838"/>
            <a:ext cx="990599" cy="304799"/>
          </a:xfrm>
        </p:spPr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3340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Rectangle 6"/>
            <p:cNvSpPr/>
            <p:nvPr/>
          </p:nvSpPr>
          <p:spPr bwMode="gray">
            <a:xfrm>
              <a:off x="414867" y="40216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3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585235" y="1278467"/>
            <a:ext cx="1409965" cy="4748590"/>
          </a:xfrm>
        </p:spPr>
        <p:txBody>
          <a:bodyPr vert="eaVert" anchor="b" anchorCtr="0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1278467"/>
            <a:ext cx="6256025" cy="474859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53104" y="6391838"/>
            <a:ext cx="992135" cy="304799"/>
          </a:xfrm>
        </p:spPr>
        <p:txBody>
          <a:bodyPr/>
          <a:lstStyle/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1518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C9865-89F8-44B4-98D7-1566E04C14F6}" type="datetime1">
              <a:rPr lang="en-US" smtClean="0"/>
              <a:t>7/21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333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93C357-46F2-466D-9AE6-73C5CF911E13}" type="datetime1">
              <a:rPr lang="en-US" smtClean="0"/>
              <a:t>7/21/2020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7510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7/21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385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DB67B5-3846-4927-A9F0-442A7D99F3E4}" type="datetime1">
              <a:rPr lang="en-US" smtClean="0"/>
              <a:t>7/21/2020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8866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87DDA-DF4A-4ACC-B20A-6F4C48FE6014}" type="datetime1">
              <a:rPr lang="en-US" smtClean="0"/>
              <a:t>7/21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8545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B2CB3-30DC-4A1C-B22B-6D912EB0C1DF}" type="datetime1">
              <a:rPr lang="en-US" smtClean="0"/>
              <a:t>7/21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5519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2.xml"/><Relationship Id="rId19" Type="http://schemas.openxmlformats.org/officeDocument/2006/relationships/vmlDrawing" Target="../drawings/vmlDrawing3.v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27170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16" imgW="631" imgH="631" progId="TCLayout.ActiveDocument.1">
                  <p:embed/>
                </p:oleObj>
              </mc:Choice>
              <mc:Fallback>
                <p:oleObj name="think-cell Folie" r:id="rId16" imgW="631" imgH="63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E6FBFB-3ADF-48C9-9835-8BCF973CA717}" type="datetime1">
              <a:rPr lang="en-US" smtClean="0"/>
              <a:t>7/21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435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88355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16" imgW="631" imgH="631" progId="TCLayout.ActiveDocument.1">
                  <p:embed/>
                </p:oleObj>
              </mc:Choice>
              <mc:Fallback>
                <p:oleObj name="think-cell Folie" r:id="rId16" imgW="631" imgH="63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5E8F0A-222C-434A-A9CB-81E98982AC14}" type="datetimeFigureOut">
              <a:rPr lang="en-US" smtClean="0"/>
              <a:t>7/21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736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874755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Folie" r:id="rId22" imgW="631" imgH="631" progId="TCLayout.ActiveDocument.1">
                  <p:embed/>
                </p:oleObj>
              </mc:Choice>
              <mc:Fallback>
                <p:oleObj name="think-cell Folie" r:id="rId22" imgW="631" imgH="631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6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4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Freeform 5"/>
            <p:cNvSpPr/>
            <p:nvPr/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/>
            <p:nvPr/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4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154954" y="973668"/>
            <a:ext cx="8761413" cy="70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8761413" cy="3416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653104" y="6391838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accent1"/>
                </a:solidFill>
              </a:defRPr>
            </a:lvl1pPr>
          </a:lstStyle>
          <a:p>
            <a:fld id="{D6E6FBFB-3ADF-48C9-9835-8BCF973CA717}" type="datetime1">
              <a:rPr lang="en-US" smtClean="0"/>
              <a:t>7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1110" y="6391838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>
                <a:solidFill>
                  <a:schemeClr val="accent1"/>
                </a:solidFill>
              </a:defRPr>
            </a:lvl1pPr>
          </a:lstStyle>
          <a:p>
            <a:r>
              <a:rPr lang="en-US"/>
              <a:t>Tes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785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QuickStyle" Target="../diagrams/quickStyle2.xml"/><Relationship Id="rId18" Type="http://schemas.openxmlformats.org/officeDocument/2006/relationships/oleObject" Target="../embeddings/oleObject14.bin"/><Relationship Id="rId26" Type="http://schemas.openxmlformats.org/officeDocument/2006/relationships/image" Target="../media/image5.wmf"/><Relationship Id="rId3" Type="http://schemas.microsoft.com/office/2007/relationships/media" Target="../media/media1.wav"/><Relationship Id="rId21" Type="http://schemas.openxmlformats.org/officeDocument/2006/relationships/image" Target="../media/image7.emf"/><Relationship Id="rId7" Type="http://schemas.openxmlformats.org/officeDocument/2006/relationships/oleObject" Target="../embeddings/oleObject13.bin"/><Relationship Id="rId12" Type="http://schemas.openxmlformats.org/officeDocument/2006/relationships/diagramLayout" Target="../diagrams/layout2.xml"/><Relationship Id="rId17" Type="http://schemas.openxmlformats.org/officeDocument/2006/relationships/image" Target="file:///C:\Users\fstallmann\Pictures\bkt.png" TargetMode="External"/><Relationship Id="rId25" Type="http://schemas.openxmlformats.org/officeDocument/2006/relationships/image" Target="../media/image4.emf"/><Relationship Id="rId2" Type="http://schemas.openxmlformats.org/officeDocument/2006/relationships/tags" Target="../tags/tag33.xml"/><Relationship Id="rId16" Type="http://schemas.openxmlformats.org/officeDocument/2006/relationships/image" Target="../media/image7.png"/><Relationship Id="rId20" Type="http://schemas.openxmlformats.org/officeDocument/2006/relationships/customXml" Target="../ink/ink1.xml"/><Relationship Id="rId1" Type="http://schemas.openxmlformats.org/officeDocument/2006/relationships/vmlDrawing" Target="../drawings/vmlDrawing13.vml"/><Relationship Id="rId6" Type="http://schemas.openxmlformats.org/officeDocument/2006/relationships/slideLayout" Target="../slideLayouts/slideLayout6.xml"/><Relationship Id="rId11" Type="http://schemas.openxmlformats.org/officeDocument/2006/relationships/diagramData" Target="../diagrams/data2.xml"/><Relationship Id="rId24" Type="http://schemas.openxmlformats.org/officeDocument/2006/relationships/oleObject" Target="https://d.docs.live.net/87adb65ad37b5729/Dokumente/Senacor/BKT%20Quick%20Tips/Mappe1!Tabelle1!Z1S1:Z5S3" TargetMode="External"/><Relationship Id="rId5" Type="http://schemas.openxmlformats.org/officeDocument/2006/relationships/control" Target="../activeX/activeX1.xml"/><Relationship Id="rId15" Type="http://schemas.microsoft.com/office/2007/relationships/diagramDrawing" Target="../diagrams/drawing2.xml"/><Relationship Id="rId23" Type="http://schemas.openxmlformats.org/officeDocument/2006/relationships/image" Target="../media/image8.svg"/><Relationship Id="rId10" Type="http://schemas.openxmlformats.org/officeDocument/2006/relationships/image" Target="../media/image6.png"/><Relationship Id="rId19" Type="http://schemas.openxmlformats.org/officeDocument/2006/relationships/image" Target="../media/image3.emf"/><Relationship Id="rId4" Type="http://schemas.openxmlformats.org/officeDocument/2006/relationships/audio" Target="../media/media1.wav"/><Relationship Id="rId9" Type="http://schemas.openxmlformats.org/officeDocument/2006/relationships/chart" Target="../charts/chart2.xml"/><Relationship Id="rId14" Type="http://schemas.openxmlformats.org/officeDocument/2006/relationships/diagramColors" Target="../diagrams/colors2.xml"/><Relationship Id="rId22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37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2.xml"/><Relationship Id="rId7" Type="http://schemas.openxmlformats.org/officeDocument/2006/relationships/image" Target="../media/image9.jpg"/><Relationship Id="rId2" Type="http://schemas.openxmlformats.org/officeDocument/2006/relationships/tags" Target="../tags/tag4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13" Type="http://schemas.microsoft.com/office/2007/relationships/diagramDrawing" Target="../diagrams/drawing3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jpg"/><Relationship Id="rId12" Type="http://schemas.openxmlformats.org/officeDocument/2006/relationships/diagramColors" Target="../diagrams/colors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jpeg"/><Relationship Id="rId11" Type="http://schemas.openxmlformats.org/officeDocument/2006/relationships/diagramQuickStyle" Target="../diagrams/quickStyle3.xml"/><Relationship Id="rId5" Type="http://schemas.openxmlformats.org/officeDocument/2006/relationships/image" Target="../media/image1.emf"/><Relationship Id="rId10" Type="http://schemas.openxmlformats.org/officeDocument/2006/relationships/diagramLayout" Target="../diagrams/layout3.xml"/><Relationship Id="rId4" Type="http://schemas.openxmlformats.org/officeDocument/2006/relationships/oleObject" Target="../embeddings/oleObject19.bin"/><Relationship Id="rId9" Type="http://schemas.openxmlformats.org/officeDocument/2006/relationships/diagramData" Target="../diagrams/data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4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9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4" Type="http://schemas.openxmlformats.org/officeDocument/2006/relationships/tags" Target="../tags/tag47.xml"/><Relationship Id="rId9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9.jpg"/><Relationship Id="rId2" Type="http://schemas.openxmlformats.org/officeDocument/2006/relationships/tags" Target="../tags/tag5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55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2.v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9.v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31.xml"/><Relationship Id="rId7" Type="http://schemas.openxmlformats.org/officeDocument/2006/relationships/diagramData" Target="../diagrams/data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1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6.xml"/><Relationship Id="rId9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Folie" r:id="rId7" imgW="631" imgH="631" progId="TCLayout.ActiveDocument.1">
                  <p:embed/>
                </p:oleObj>
              </mc:Choice>
              <mc:Fallback>
                <p:oleObj name="think-cell Folie" r:id="rId7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7/21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5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dirty="0" err="1">
                <a:solidFill>
                  <a:srgbClr val="000000"/>
                </a:solidFill>
              </a:rPr>
              <a:t>Testsuite</a:t>
            </a: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dirty="0" err="1">
                <a:solidFill>
                  <a:srgbClr val="000000"/>
                </a:solidFill>
              </a:rPr>
              <a:t>Shapetypes</a:t>
            </a: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dirty="0" err="1">
                <a:solidFill>
                  <a:srgbClr val="000000"/>
                </a:solidFill>
              </a:rPr>
              <a:t>Shapestypes</a:t>
            </a:r>
            <a:r>
              <a:rPr lang="en-US" sz="1400" dirty="0">
                <a:solidFill>
                  <a:srgbClr val="000000"/>
                </a:solidFill>
              </a:rPr>
              <a:t> 2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dirty="0" err="1">
                <a:solidFill>
                  <a:srgbClr val="000000"/>
                </a:solidFill>
              </a:rPr>
              <a:t>Shapetypes</a:t>
            </a:r>
            <a:r>
              <a:rPr lang="en-US" sz="1400" dirty="0">
                <a:solidFill>
                  <a:srgbClr val="000000"/>
                </a:solidFill>
              </a:rPr>
              <a:t> 3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dirty="0">
                <a:solidFill>
                  <a:srgbClr val="000000"/>
                </a:solidFill>
              </a:rPr>
              <a:t>Gradients</a:t>
            </a: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62057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746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6" name="think-cell Folie" r:id="rId7" imgW="631" imgH="631" progId="TCLayout.ActiveDocument.1">
                  <p:embed/>
                </p:oleObj>
              </mc:Choice>
              <mc:Fallback>
                <p:oleObj name="think-cell Folie" r:id="rId7" imgW="631" imgH="631" progId="TCLayout.ActiveDocument.1">
                  <p:embed/>
                  <p:pic>
                    <p:nvPicPr>
                      <p:cNvPr id="49" name="Objekt 4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2150" y="4312900"/>
            <a:ext cx="984250" cy="384175"/>
          </a:xfrm>
        </p:spPr>
        <p:txBody>
          <a:bodyPr>
            <a:normAutofit fontScale="90000"/>
          </a:bodyPr>
          <a:lstStyle/>
          <a:p>
            <a:r>
              <a:rPr lang="en-US" dirty="0"/>
              <a:t>X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7/21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0</a:t>
            </a:fld>
            <a:endParaRPr lang="en-US"/>
          </a:p>
        </p:txBody>
      </p:sp>
      <p:sp>
        <p:nvSpPr>
          <p:cNvPr id="8" name="Abgerundetes Rechteck 7"/>
          <p:cNvSpPr/>
          <p:nvPr/>
        </p:nvSpPr>
        <p:spPr>
          <a:xfrm>
            <a:off x="711200" y="1373713"/>
            <a:ext cx="768350" cy="2603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625475" y="1020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AutoShape</a:t>
            </a:r>
            <a:endParaRPr lang="en-US" sz="1000" dirty="0"/>
          </a:p>
        </p:txBody>
      </p:sp>
      <p:sp>
        <p:nvSpPr>
          <p:cNvPr id="12" name="Rechteck 11"/>
          <p:cNvSpPr/>
          <p:nvPr/>
        </p:nvSpPr>
        <p:spPr>
          <a:xfrm>
            <a:off x="2486025" y="1020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Callout</a:t>
            </a:r>
            <a:endParaRPr lang="en-US" sz="1000" dirty="0"/>
          </a:p>
        </p:txBody>
      </p:sp>
      <p:sp>
        <p:nvSpPr>
          <p:cNvPr id="13" name="Rechteck 12"/>
          <p:cNvSpPr/>
          <p:nvPr/>
        </p:nvSpPr>
        <p:spPr>
          <a:xfrm>
            <a:off x="4346575" y="1020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Canvas</a:t>
            </a:r>
            <a:endParaRPr lang="en-US" sz="1000" dirty="0"/>
          </a:p>
        </p:txBody>
      </p:sp>
      <p:sp>
        <p:nvSpPr>
          <p:cNvPr id="14" name="Rechteck 13"/>
          <p:cNvSpPr/>
          <p:nvPr/>
        </p:nvSpPr>
        <p:spPr>
          <a:xfrm>
            <a:off x="6207125" y="1020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Chart</a:t>
            </a:r>
            <a:endParaRPr lang="en-US" sz="1000" dirty="0"/>
          </a:p>
        </p:txBody>
      </p:sp>
      <p:sp>
        <p:nvSpPr>
          <p:cNvPr id="15" name="Rechteck 14"/>
          <p:cNvSpPr/>
          <p:nvPr/>
        </p:nvSpPr>
        <p:spPr>
          <a:xfrm>
            <a:off x="8067675" y="1020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Comment</a:t>
            </a:r>
            <a:endParaRPr lang="en-US" sz="1000" dirty="0"/>
          </a:p>
        </p:txBody>
      </p:sp>
      <p:sp>
        <p:nvSpPr>
          <p:cNvPr id="16" name="Rechteck 15"/>
          <p:cNvSpPr/>
          <p:nvPr/>
        </p:nvSpPr>
        <p:spPr>
          <a:xfrm>
            <a:off x="62547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ContentApp</a:t>
            </a:r>
            <a:endParaRPr lang="en-US" sz="1000" dirty="0"/>
          </a:p>
        </p:txBody>
      </p:sp>
      <p:sp>
        <p:nvSpPr>
          <p:cNvPr id="17" name="Rechteck 16"/>
          <p:cNvSpPr/>
          <p:nvPr/>
        </p:nvSpPr>
        <p:spPr>
          <a:xfrm>
            <a:off x="248602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Diagram</a:t>
            </a:r>
            <a:endParaRPr lang="en-US" sz="1000" dirty="0"/>
          </a:p>
        </p:txBody>
      </p:sp>
      <p:sp>
        <p:nvSpPr>
          <p:cNvPr id="18" name="Rechteck 17"/>
          <p:cNvSpPr/>
          <p:nvPr/>
        </p:nvSpPr>
        <p:spPr>
          <a:xfrm>
            <a:off x="434657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EmbeddedOLEObject</a:t>
            </a:r>
            <a:endParaRPr lang="en-US" sz="1000" dirty="0"/>
          </a:p>
        </p:txBody>
      </p:sp>
      <p:sp>
        <p:nvSpPr>
          <p:cNvPr id="19" name="Rechteck 18"/>
          <p:cNvSpPr/>
          <p:nvPr/>
        </p:nvSpPr>
        <p:spPr>
          <a:xfrm>
            <a:off x="620712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FormControl</a:t>
            </a:r>
            <a:endParaRPr lang="en-US" sz="1000" dirty="0"/>
          </a:p>
        </p:txBody>
      </p:sp>
      <p:sp>
        <p:nvSpPr>
          <p:cNvPr id="20" name="Rechteck 19"/>
          <p:cNvSpPr/>
          <p:nvPr/>
        </p:nvSpPr>
        <p:spPr>
          <a:xfrm>
            <a:off x="806767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Freeform</a:t>
            </a:r>
            <a:endParaRPr lang="en-US" sz="1000" dirty="0"/>
          </a:p>
        </p:txBody>
      </p:sp>
      <p:sp>
        <p:nvSpPr>
          <p:cNvPr id="21" name="Rechteck 20"/>
          <p:cNvSpPr/>
          <p:nvPr/>
        </p:nvSpPr>
        <p:spPr>
          <a:xfrm>
            <a:off x="992822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Graphic</a:t>
            </a:r>
            <a:endParaRPr lang="en-US" sz="1000" dirty="0"/>
          </a:p>
        </p:txBody>
      </p:sp>
      <p:sp>
        <p:nvSpPr>
          <p:cNvPr id="22" name="Rechteck 21"/>
          <p:cNvSpPr/>
          <p:nvPr/>
        </p:nvSpPr>
        <p:spPr>
          <a:xfrm>
            <a:off x="62547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Group</a:t>
            </a:r>
            <a:endParaRPr lang="en-US" sz="1000" dirty="0"/>
          </a:p>
        </p:txBody>
      </p:sp>
      <p:sp>
        <p:nvSpPr>
          <p:cNvPr id="23" name="Rechteck 22"/>
          <p:cNvSpPr/>
          <p:nvPr/>
        </p:nvSpPr>
        <p:spPr>
          <a:xfrm>
            <a:off x="248602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Ink</a:t>
            </a:r>
            <a:endParaRPr lang="en-US" sz="1000" dirty="0"/>
          </a:p>
        </p:txBody>
      </p:sp>
      <p:sp>
        <p:nvSpPr>
          <p:cNvPr id="24" name="Rechteck 23"/>
          <p:cNvSpPr/>
          <p:nvPr/>
        </p:nvSpPr>
        <p:spPr>
          <a:xfrm>
            <a:off x="434657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InkComment</a:t>
            </a:r>
            <a:endParaRPr lang="en-US" sz="1000" dirty="0"/>
          </a:p>
        </p:txBody>
      </p:sp>
      <p:sp>
        <p:nvSpPr>
          <p:cNvPr id="25" name="Rechteck 24"/>
          <p:cNvSpPr/>
          <p:nvPr/>
        </p:nvSpPr>
        <p:spPr>
          <a:xfrm>
            <a:off x="620712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Line</a:t>
            </a:r>
            <a:endParaRPr lang="en-US" sz="1000" dirty="0"/>
          </a:p>
        </p:txBody>
      </p:sp>
      <p:sp>
        <p:nvSpPr>
          <p:cNvPr id="26" name="Rechteck 25"/>
          <p:cNvSpPr/>
          <p:nvPr/>
        </p:nvSpPr>
        <p:spPr>
          <a:xfrm>
            <a:off x="806767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LinkedGraphic</a:t>
            </a:r>
            <a:endParaRPr lang="en-US" sz="1000" dirty="0"/>
          </a:p>
        </p:txBody>
      </p:sp>
      <p:sp>
        <p:nvSpPr>
          <p:cNvPr id="27" name="Rechteck 26"/>
          <p:cNvSpPr/>
          <p:nvPr/>
        </p:nvSpPr>
        <p:spPr>
          <a:xfrm>
            <a:off x="992822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LinkedOLEObject</a:t>
            </a:r>
            <a:endParaRPr lang="en-US" sz="1000" dirty="0"/>
          </a:p>
        </p:txBody>
      </p:sp>
      <p:sp>
        <p:nvSpPr>
          <p:cNvPr id="28" name="Rechteck 27"/>
          <p:cNvSpPr/>
          <p:nvPr/>
        </p:nvSpPr>
        <p:spPr>
          <a:xfrm>
            <a:off x="62547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LinkedPicture</a:t>
            </a:r>
            <a:endParaRPr lang="en-US" sz="1000" dirty="0"/>
          </a:p>
        </p:txBody>
      </p:sp>
      <p:sp>
        <p:nvSpPr>
          <p:cNvPr id="29" name="Rechteck 28"/>
          <p:cNvSpPr/>
          <p:nvPr/>
        </p:nvSpPr>
        <p:spPr>
          <a:xfrm>
            <a:off x="248602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Media</a:t>
            </a:r>
            <a:endParaRPr lang="en-US" sz="1000" dirty="0"/>
          </a:p>
        </p:txBody>
      </p:sp>
      <p:sp>
        <p:nvSpPr>
          <p:cNvPr id="30" name="Rechteck 29"/>
          <p:cNvSpPr/>
          <p:nvPr/>
        </p:nvSpPr>
        <p:spPr>
          <a:xfrm>
            <a:off x="434657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OLEControlObject</a:t>
            </a:r>
            <a:endParaRPr lang="en-US" sz="1000" dirty="0"/>
          </a:p>
        </p:txBody>
      </p:sp>
      <p:sp>
        <p:nvSpPr>
          <p:cNvPr id="31" name="Rechteck 30"/>
          <p:cNvSpPr/>
          <p:nvPr/>
        </p:nvSpPr>
        <p:spPr>
          <a:xfrm>
            <a:off x="620712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Picture</a:t>
            </a:r>
            <a:endParaRPr lang="en-US" sz="1000" dirty="0"/>
          </a:p>
        </p:txBody>
      </p:sp>
      <p:sp>
        <p:nvSpPr>
          <p:cNvPr id="32" name="Rechteck 31"/>
          <p:cNvSpPr/>
          <p:nvPr/>
        </p:nvSpPr>
        <p:spPr>
          <a:xfrm>
            <a:off x="806767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Placeholder</a:t>
            </a:r>
            <a:endParaRPr lang="en-US" sz="1000" dirty="0"/>
          </a:p>
        </p:txBody>
      </p:sp>
      <p:sp>
        <p:nvSpPr>
          <p:cNvPr id="33" name="Rechteck 32"/>
          <p:cNvSpPr/>
          <p:nvPr/>
        </p:nvSpPr>
        <p:spPr>
          <a:xfrm>
            <a:off x="992822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ScriptAnchor</a:t>
            </a:r>
            <a:endParaRPr lang="en-US" sz="1000" dirty="0"/>
          </a:p>
        </p:txBody>
      </p:sp>
      <p:sp>
        <p:nvSpPr>
          <p:cNvPr id="34" name="Rechteck 33"/>
          <p:cNvSpPr/>
          <p:nvPr/>
        </p:nvSpPr>
        <p:spPr>
          <a:xfrm>
            <a:off x="62547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ShapeTypeMixed</a:t>
            </a:r>
            <a:endParaRPr lang="en-US" sz="1000" dirty="0"/>
          </a:p>
        </p:txBody>
      </p:sp>
      <p:sp>
        <p:nvSpPr>
          <p:cNvPr id="35" name="Rechteck 34"/>
          <p:cNvSpPr/>
          <p:nvPr/>
        </p:nvSpPr>
        <p:spPr>
          <a:xfrm>
            <a:off x="248602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SmartArt</a:t>
            </a:r>
            <a:endParaRPr lang="en-US" sz="1000" dirty="0"/>
          </a:p>
        </p:txBody>
      </p:sp>
      <p:sp>
        <p:nvSpPr>
          <p:cNvPr id="36" name="Rechteck 35"/>
          <p:cNvSpPr/>
          <p:nvPr/>
        </p:nvSpPr>
        <p:spPr>
          <a:xfrm>
            <a:off x="434657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Table</a:t>
            </a:r>
            <a:endParaRPr lang="en-US" sz="1000" dirty="0"/>
          </a:p>
        </p:txBody>
      </p:sp>
      <p:sp>
        <p:nvSpPr>
          <p:cNvPr id="37" name="Rechteck 36"/>
          <p:cNvSpPr/>
          <p:nvPr/>
        </p:nvSpPr>
        <p:spPr>
          <a:xfrm>
            <a:off x="620712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TextBox</a:t>
            </a:r>
            <a:endParaRPr lang="en-US" sz="1000" dirty="0"/>
          </a:p>
        </p:txBody>
      </p:sp>
      <p:sp>
        <p:nvSpPr>
          <p:cNvPr id="38" name="Rechteck 37"/>
          <p:cNvSpPr/>
          <p:nvPr/>
        </p:nvSpPr>
        <p:spPr>
          <a:xfrm>
            <a:off x="806767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TextEffect</a:t>
            </a:r>
            <a:endParaRPr lang="en-US" sz="1000" dirty="0"/>
          </a:p>
        </p:txBody>
      </p:sp>
      <p:sp>
        <p:nvSpPr>
          <p:cNvPr id="39" name="Rechteck 38"/>
          <p:cNvSpPr/>
          <p:nvPr/>
        </p:nvSpPr>
        <p:spPr>
          <a:xfrm>
            <a:off x="992822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WebVideo</a:t>
            </a:r>
            <a:endParaRPr lang="en-US" sz="1000" dirty="0"/>
          </a:p>
        </p:txBody>
      </p:sp>
      <p:grpSp>
        <p:nvGrpSpPr>
          <p:cNvPr id="42" name="Gruppieren 41"/>
          <p:cNvGrpSpPr/>
          <p:nvPr/>
        </p:nvGrpSpPr>
        <p:grpSpPr>
          <a:xfrm>
            <a:off x="838200" y="3457118"/>
            <a:ext cx="1238250" cy="351712"/>
            <a:chOff x="838200" y="4517568"/>
            <a:chExt cx="1238250" cy="351712"/>
          </a:xfrm>
        </p:grpSpPr>
        <p:sp>
          <p:nvSpPr>
            <p:cNvPr id="40" name="Abgerundetes Rechteck 39"/>
            <p:cNvSpPr/>
            <p:nvPr/>
          </p:nvSpPr>
          <p:spPr>
            <a:xfrm>
              <a:off x="838200" y="4517568"/>
              <a:ext cx="768350" cy="260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Abgerundetes Rechteck 40"/>
            <p:cNvSpPr/>
            <p:nvPr/>
          </p:nvSpPr>
          <p:spPr>
            <a:xfrm>
              <a:off x="1308100" y="4608930"/>
              <a:ext cx="768350" cy="260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44" name="Diagramm 43"/>
          <p:cNvGraphicFramePr/>
          <p:nvPr>
            <p:extLst>
              <p:ext uri="{D42A27DB-BD31-4B8C-83A1-F6EECF244321}">
                <p14:modId xmlns:p14="http://schemas.microsoft.com/office/powerpoint/2010/main" val="770592332"/>
              </p:ext>
            </p:extLst>
          </p:nvPr>
        </p:nvGraphicFramePr>
        <p:xfrm>
          <a:off x="6210300" y="1264483"/>
          <a:ext cx="1609725" cy="739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5" name="Freihandform 44"/>
          <p:cNvSpPr/>
          <p:nvPr/>
        </p:nvSpPr>
        <p:spPr>
          <a:xfrm>
            <a:off x="10318750" y="2247483"/>
            <a:ext cx="1035050" cy="654050"/>
          </a:xfrm>
          <a:custGeom>
            <a:avLst/>
            <a:gdLst>
              <a:gd name="connsiteX0" fmla="*/ 254000 w 1035050"/>
              <a:gd name="connsiteY0" fmla="*/ 0 h 654050"/>
              <a:gd name="connsiteX1" fmla="*/ 1035050 w 1035050"/>
              <a:gd name="connsiteY1" fmla="*/ 647700 h 654050"/>
              <a:gd name="connsiteX2" fmla="*/ 165100 w 1035050"/>
              <a:gd name="connsiteY2" fmla="*/ 654050 h 654050"/>
              <a:gd name="connsiteX3" fmla="*/ 0 w 1035050"/>
              <a:gd name="connsiteY3" fmla="*/ 330200 h 654050"/>
              <a:gd name="connsiteX4" fmla="*/ 254000 w 1035050"/>
              <a:gd name="connsiteY4" fmla="*/ 298450 h 654050"/>
              <a:gd name="connsiteX5" fmla="*/ 25400 w 1035050"/>
              <a:gd name="connsiteY5" fmla="*/ 127000 h 654050"/>
              <a:gd name="connsiteX6" fmla="*/ 514350 w 1035050"/>
              <a:gd name="connsiteY6" fmla="*/ 495300 h 654050"/>
              <a:gd name="connsiteX7" fmla="*/ 552450 w 1035050"/>
              <a:gd name="connsiteY7" fmla="*/ 298450 h 654050"/>
              <a:gd name="connsiteX8" fmla="*/ 228600 w 1035050"/>
              <a:gd name="connsiteY8" fmla="*/ 171450 h 654050"/>
              <a:gd name="connsiteX9" fmla="*/ 196850 w 1035050"/>
              <a:gd name="connsiteY9" fmla="*/ 19050 h 65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5050" h="654050">
                <a:moveTo>
                  <a:pt x="254000" y="0"/>
                </a:moveTo>
                <a:lnTo>
                  <a:pt x="1035050" y="647700"/>
                </a:lnTo>
                <a:lnTo>
                  <a:pt x="165100" y="654050"/>
                </a:lnTo>
                <a:lnTo>
                  <a:pt x="0" y="330200"/>
                </a:lnTo>
                <a:lnTo>
                  <a:pt x="254000" y="298450"/>
                </a:lnTo>
                <a:lnTo>
                  <a:pt x="25400" y="127000"/>
                </a:lnTo>
                <a:lnTo>
                  <a:pt x="514350" y="495300"/>
                </a:lnTo>
                <a:lnTo>
                  <a:pt x="552450" y="298450"/>
                </a:lnTo>
                <a:lnTo>
                  <a:pt x="228600" y="171450"/>
                </a:lnTo>
                <a:lnTo>
                  <a:pt x="196850" y="19050"/>
                </a:lnTo>
              </a:path>
            </a:pathLst>
          </a:custGeom>
          <a:solidFill>
            <a:schemeClr val="accent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Gerader Verbinder 46"/>
          <p:cNvCxnSpPr/>
          <p:nvPr/>
        </p:nvCxnSpPr>
        <p:spPr>
          <a:xfrm>
            <a:off x="6751637" y="3442702"/>
            <a:ext cx="523875" cy="20707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>
            <a:off x="6477000" y="5196483"/>
            <a:ext cx="104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XX</a:t>
            </a:r>
          </a:p>
        </p:txBody>
      </p:sp>
      <p:pic>
        <p:nvPicPr>
          <p:cNvPr id="51" name="Grafik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9887" y="4312900"/>
            <a:ext cx="496739" cy="496739"/>
          </a:xfrm>
          <a:prstGeom prst="rect">
            <a:avLst/>
          </a:prstGeom>
        </p:spPr>
      </p:pic>
      <p:graphicFrame>
        <p:nvGraphicFramePr>
          <p:cNvPr id="52" name="Diagramm 51"/>
          <p:cNvGraphicFramePr/>
          <p:nvPr>
            <p:extLst>
              <p:ext uri="{D42A27DB-BD31-4B8C-83A1-F6EECF244321}">
                <p14:modId xmlns:p14="http://schemas.microsoft.com/office/powerpoint/2010/main" val="860584294"/>
              </p:ext>
            </p:extLst>
          </p:nvPr>
        </p:nvGraphicFramePr>
        <p:xfrm>
          <a:off x="2508250" y="5196483"/>
          <a:ext cx="1244600" cy="7663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53" name="Tabel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2660218"/>
              </p:ext>
            </p:extLst>
          </p:nvPr>
        </p:nvGraphicFramePr>
        <p:xfrm>
          <a:off x="4870450" y="5255498"/>
          <a:ext cx="56515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575">
                  <a:extLst>
                    <a:ext uri="{9D8B030D-6E8A-4147-A177-3AD203B41FA5}">
                      <a16:colId xmlns:a16="http://schemas.microsoft.com/office/drawing/2014/main" val="3196718955"/>
                    </a:ext>
                  </a:extLst>
                </a:gridCol>
                <a:gridCol w="282575">
                  <a:extLst>
                    <a:ext uri="{9D8B030D-6E8A-4147-A177-3AD203B41FA5}">
                      <a16:colId xmlns:a16="http://schemas.microsoft.com/office/drawing/2014/main" val="1118739239"/>
                    </a:ext>
                  </a:extLst>
                </a:gridCol>
              </a:tblGrid>
              <a:tr h="12594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1326599"/>
                  </a:ext>
                </a:extLst>
              </a:tr>
              <a:tr h="12594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6642895"/>
                  </a:ext>
                </a:extLst>
              </a:tr>
            </a:tbl>
          </a:graphicData>
        </a:graphic>
      </p:graphicFrame>
      <p:pic>
        <p:nvPicPr>
          <p:cNvPr id="55" name="Cha Ching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6"/>
          <a:stretch>
            <a:fillRect/>
          </a:stretch>
        </p:blipFill>
        <p:spPr>
          <a:xfrm>
            <a:off x="2886868" y="4261305"/>
            <a:ext cx="487363" cy="487363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>
          <a:blip r:link="rId17"/>
          <a:stretch>
            <a:fillRect/>
          </a:stretch>
        </p:blipFill>
        <p:spPr>
          <a:xfrm>
            <a:off x="1095375" y="4261305"/>
            <a:ext cx="628650" cy="628650"/>
          </a:xfrm>
          <a:prstGeom prst="rect">
            <a:avLst/>
          </a:prstGeom>
        </p:spPr>
      </p:pic>
      <p:graphicFrame>
        <p:nvGraphicFramePr>
          <p:cNvPr id="61" name="Objekt 6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38726482"/>
              </p:ext>
            </p:extLst>
          </p:nvPr>
        </p:nvGraphicFramePr>
        <p:xfrm>
          <a:off x="4738688" y="2284333"/>
          <a:ext cx="696912" cy="482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7" name="Arbeitsblatt" r:id="rId18" imgW="7932297" imgH="5493967" progId="Excel.Sheet.12">
                  <p:embed/>
                </p:oleObj>
              </mc:Choice>
              <mc:Fallback>
                <p:oleObj name="Arbeitsblatt" r:id="rId18" imgW="7932297" imgH="5493967" progId="Excel.Sheet.12">
                  <p:embed/>
                  <p:pic>
                    <p:nvPicPr>
                      <p:cNvPr id="61" name="Objekt 60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4738688" y="2284333"/>
                        <a:ext cx="696912" cy="482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Legende mit Linie 1 66"/>
          <p:cNvSpPr/>
          <p:nvPr/>
        </p:nvSpPr>
        <p:spPr>
          <a:xfrm>
            <a:off x="2934097" y="1457519"/>
            <a:ext cx="716756" cy="210353"/>
          </a:xfrm>
          <a:prstGeom prst="borderCallout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71" name="Freihand 70"/>
              <p14:cNvContentPartPr/>
              <p14:nvPr/>
            </p14:nvContentPartPr>
            <p14:xfrm>
              <a:off x="4621845" y="3300656"/>
              <a:ext cx="1062360" cy="509760"/>
            </p14:xfrm>
          </p:contentPart>
        </mc:Choice>
        <mc:Fallback xmlns="">
          <p:pic>
            <p:nvPicPr>
              <p:cNvPr id="71" name="Freihand 70"/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4612485" y="3291296"/>
                <a:ext cx="1081080" cy="528480"/>
              </a:xfrm>
              <a:prstGeom prst="rect">
                <a:avLst/>
              </a:prstGeom>
            </p:spPr>
          </p:pic>
        </mc:Fallback>
      </mc:AlternateContent>
      <p:sp>
        <p:nvSpPr>
          <p:cNvPr id="79" name="Textfeld 78"/>
          <p:cNvSpPr txBox="1"/>
          <p:nvPr/>
        </p:nvSpPr>
        <p:spPr>
          <a:xfrm>
            <a:off x="8211123" y="1334656"/>
            <a:ext cx="13260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 err="1"/>
              <a:t>Nicht</a:t>
            </a:r>
            <a:r>
              <a:rPr lang="en-US" sz="1100" i="1" dirty="0"/>
              <a:t> </a:t>
            </a:r>
            <a:r>
              <a:rPr lang="en-US" sz="1100" i="1" dirty="0" err="1"/>
              <a:t>implementiert</a:t>
            </a:r>
            <a:endParaRPr lang="en-US" sz="1100" i="1" dirty="0"/>
          </a:p>
        </p:txBody>
      </p:sp>
      <p:sp>
        <p:nvSpPr>
          <p:cNvPr id="80" name="Textfeld 79"/>
          <p:cNvSpPr txBox="1"/>
          <p:nvPr/>
        </p:nvSpPr>
        <p:spPr>
          <a:xfrm>
            <a:off x="4505324" y="1334656"/>
            <a:ext cx="13260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 err="1"/>
              <a:t>Nicht</a:t>
            </a:r>
            <a:r>
              <a:rPr lang="en-US" sz="1100" i="1" dirty="0"/>
              <a:t> </a:t>
            </a:r>
            <a:r>
              <a:rPr lang="en-US" sz="1100" i="1" dirty="0" err="1"/>
              <a:t>implementiert</a:t>
            </a:r>
            <a:endParaRPr lang="en-US" sz="1100" i="1" dirty="0"/>
          </a:p>
        </p:txBody>
      </p:sp>
      <p:sp>
        <p:nvSpPr>
          <p:cNvPr id="81" name="Textfeld 80"/>
          <p:cNvSpPr txBox="1"/>
          <p:nvPr/>
        </p:nvSpPr>
        <p:spPr>
          <a:xfrm>
            <a:off x="2629473" y="2326159"/>
            <a:ext cx="13260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 err="1"/>
              <a:t>Nicht</a:t>
            </a:r>
            <a:r>
              <a:rPr lang="en-US" sz="1100" i="1" dirty="0"/>
              <a:t> </a:t>
            </a:r>
            <a:r>
              <a:rPr lang="en-US" sz="1100" i="1" dirty="0" err="1"/>
              <a:t>implementiert</a:t>
            </a:r>
            <a:endParaRPr lang="en-US" sz="1100" i="1" dirty="0"/>
          </a:p>
        </p:txBody>
      </p:sp>
      <p:sp>
        <p:nvSpPr>
          <p:cNvPr id="83" name="Textfeld 82"/>
          <p:cNvSpPr txBox="1"/>
          <p:nvPr/>
        </p:nvSpPr>
        <p:spPr>
          <a:xfrm>
            <a:off x="8211123" y="5242545"/>
            <a:ext cx="116782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 err="1"/>
              <a:t>Wird</a:t>
            </a:r>
            <a:r>
              <a:rPr lang="en-US" sz="1100" i="1" dirty="0"/>
              <a:t> </a:t>
            </a:r>
            <a:r>
              <a:rPr lang="en-US" sz="1100" i="1" dirty="0" err="1"/>
              <a:t>als</a:t>
            </a:r>
            <a:r>
              <a:rPr lang="en-US" sz="1100" i="1" dirty="0"/>
              <a:t> AutoShape </a:t>
            </a:r>
            <a:r>
              <a:rPr lang="en-US" sz="1100" i="1" dirty="0" err="1"/>
              <a:t>angelegt</a:t>
            </a:r>
            <a:endParaRPr lang="en-US" sz="1100" i="1" dirty="0"/>
          </a:p>
        </p:txBody>
      </p:sp>
      <p:pic>
        <p:nvPicPr>
          <p:cNvPr id="7" name="Grafik 6" descr="Außerirdischer Gesicht">
            <a:extLst>
              <a:ext uri="{FF2B5EF4-FFF2-40B4-BE49-F238E27FC236}">
                <a16:creationId xmlns:a16="http://schemas.microsoft.com/office/drawing/2014/main" id="{DBD6152D-26D6-4C4E-AE39-A834DA8F4179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8486179" y="2222667"/>
            <a:ext cx="636192" cy="636192"/>
          </a:xfrm>
          <a:prstGeom prst="rect">
            <a:avLst/>
          </a:prstGeom>
        </p:spPr>
      </p:pic>
      <p:graphicFrame>
        <p:nvGraphicFramePr>
          <p:cNvPr id="43" name="Objekt 4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110647"/>
              </p:ext>
            </p:extLst>
          </p:nvPr>
        </p:nvGraphicFramePr>
        <p:xfrm>
          <a:off x="10067838" y="3289941"/>
          <a:ext cx="1333673" cy="5158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8" name="Arbeitsblatt" r:id="rId24" imgW="2385055" imgH="921967" progId="Excel.Sheet.12">
                  <p:link updateAutomatic="1"/>
                </p:oleObj>
              </mc:Choice>
              <mc:Fallback>
                <p:oleObj name="Arbeitsblatt" r:id="rId24" imgW="2385055" imgH="92196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0067838" y="3289941"/>
                        <a:ext cx="1333673" cy="5158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ontrols>
      <mc:AlternateContent xmlns:mc="http://schemas.openxmlformats.org/markup-compatibility/2006">
        <mc:Choice xmlns:v="urn:schemas-microsoft-com:vml" Requires="v">
          <p:control spid="13339" name="CheckBox1" r:id="rId5" imgW="1327320" imgH="311040"/>
        </mc:Choice>
        <mc:Fallback>
          <p:control name="CheckBox1" r:id="rId5" imgW="1327320" imgH="311040">
            <p:pic>
              <p:nvPicPr>
                <p:cNvPr id="58" name="CheckBox1"/>
                <p:cNvPicPr>
                  <a:picLocks/>
                </p:cNvPicPr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4505324" y="4326691"/>
                  <a:ext cx="1326004" cy="312480"/>
                </a:xfrm>
                <a:prstGeom prst="rect">
                  <a:avLst/>
                </a:prstGeom>
              </p:spPr>
            </p:pic>
          </p:control>
        </mc:Fallback>
      </mc:AlternateContent>
    </p:controls>
    <p:extLst>
      <p:ext uri="{BB962C8B-B14F-4D97-AF65-F5344CB8AC3E}">
        <p14:creationId xmlns:p14="http://schemas.microsoft.com/office/powerpoint/2010/main" val="4116753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77" fill="hold"/>
                                        <p:tgtEl>
                                          <p:spTgt spid="5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5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5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" name="Objekt 16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893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163" name="Objekt 16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2" name="Rechteck 16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 shape autotype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7/21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1</a:t>
            </a:fld>
            <a:endParaRPr lang="en-US"/>
          </a:p>
        </p:txBody>
      </p:sp>
      <p:sp>
        <p:nvSpPr>
          <p:cNvPr id="11" name="Rechteck 10"/>
          <p:cNvSpPr>
            <a:spLocks noChangeAspect="1"/>
          </p:cNvSpPr>
          <p:nvPr/>
        </p:nvSpPr>
        <p:spPr>
          <a:xfrm>
            <a:off x="189693" y="1895475"/>
            <a:ext cx="393700" cy="393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bgerundetes Rechteck 11"/>
          <p:cNvSpPr>
            <a:spLocks noChangeAspect="1"/>
          </p:cNvSpPr>
          <p:nvPr/>
        </p:nvSpPr>
        <p:spPr>
          <a:xfrm>
            <a:off x="763393" y="1895475"/>
            <a:ext cx="393700" cy="3937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ine Ecke des Rechtecks schneiden 12"/>
          <p:cNvSpPr>
            <a:spLocks noChangeAspect="1"/>
          </p:cNvSpPr>
          <p:nvPr/>
        </p:nvSpPr>
        <p:spPr>
          <a:xfrm>
            <a:off x="1337093" y="1895475"/>
            <a:ext cx="393700" cy="393700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Ecken des Rechtecks auf der gleichen Seite schneiden 13"/>
          <p:cNvSpPr>
            <a:spLocks noChangeAspect="1"/>
          </p:cNvSpPr>
          <p:nvPr/>
        </p:nvSpPr>
        <p:spPr>
          <a:xfrm>
            <a:off x="1910793" y="1895475"/>
            <a:ext cx="393700" cy="393700"/>
          </a:xfrm>
          <a:prstGeom prst="snip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Diagonal liegende Ecken des Rechtecks schneiden 14"/>
          <p:cNvSpPr>
            <a:spLocks noChangeAspect="1"/>
          </p:cNvSpPr>
          <p:nvPr/>
        </p:nvSpPr>
        <p:spPr>
          <a:xfrm>
            <a:off x="2484493" y="1895475"/>
            <a:ext cx="393700" cy="393700"/>
          </a:xfrm>
          <a:prstGeom prst="snip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Eine Ecke des Rechtecks schneiden und abrunden 15"/>
          <p:cNvSpPr>
            <a:spLocks noChangeAspect="1"/>
          </p:cNvSpPr>
          <p:nvPr/>
        </p:nvSpPr>
        <p:spPr>
          <a:xfrm>
            <a:off x="3058193" y="1895475"/>
            <a:ext cx="393700" cy="393700"/>
          </a:xfrm>
          <a:prstGeom prst="snip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e Ecke des Rechtecks abrunden 16"/>
          <p:cNvSpPr>
            <a:spLocks noChangeAspect="1"/>
          </p:cNvSpPr>
          <p:nvPr/>
        </p:nvSpPr>
        <p:spPr>
          <a:xfrm>
            <a:off x="3631893" y="1895475"/>
            <a:ext cx="393700" cy="393700"/>
          </a:xfrm>
          <a:prstGeom prst="round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uf der gleichen Seite des Rechtecks liegende Ecken abrunden 17"/>
          <p:cNvSpPr>
            <a:spLocks noChangeAspect="1"/>
          </p:cNvSpPr>
          <p:nvPr/>
        </p:nvSpPr>
        <p:spPr>
          <a:xfrm>
            <a:off x="4205593" y="1895475"/>
            <a:ext cx="393700" cy="393700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agonal liegende Ecken des Rechtecks abrunden 18"/>
          <p:cNvSpPr>
            <a:spLocks noChangeAspect="1"/>
          </p:cNvSpPr>
          <p:nvPr/>
        </p:nvSpPr>
        <p:spPr>
          <a:xfrm>
            <a:off x="4779293" y="1895475"/>
            <a:ext cx="393700" cy="393700"/>
          </a:xfrm>
          <a:prstGeom prst="round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Ellipse 19"/>
          <p:cNvSpPr>
            <a:spLocks noChangeAspect="1"/>
          </p:cNvSpPr>
          <p:nvPr/>
        </p:nvSpPr>
        <p:spPr>
          <a:xfrm>
            <a:off x="189693" y="2476402"/>
            <a:ext cx="330200" cy="330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Gleichschenkliges Dreieck 20"/>
          <p:cNvSpPr>
            <a:spLocks noChangeAspect="1"/>
          </p:cNvSpPr>
          <p:nvPr/>
        </p:nvSpPr>
        <p:spPr>
          <a:xfrm>
            <a:off x="699893" y="2476402"/>
            <a:ext cx="383032" cy="330200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winkliges Dreieck 21"/>
          <p:cNvSpPr>
            <a:spLocks noChangeAspect="1"/>
          </p:cNvSpPr>
          <p:nvPr/>
        </p:nvSpPr>
        <p:spPr>
          <a:xfrm>
            <a:off x="1262925" y="2476402"/>
            <a:ext cx="330200" cy="330200"/>
          </a:xfrm>
          <a:prstGeom prst="rt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m 22"/>
          <p:cNvSpPr>
            <a:spLocks noChangeAspect="1"/>
          </p:cNvSpPr>
          <p:nvPr/>
        </p:nvSpPr>
        <p:spPr>
          <a:xfrm>
            <a:off x="1773125" y="2476402"/>
            <a:ext cx="439166" cy="330200"/>
          </a:xfrm>
          <a:prstGeom prst="parallelogram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rapezoid 23"/>
          <p:cNvSpPr>
            <a:spLocks noChangeAspect="1"/>
          </p:cNvSpPr>
          <p:nvPr/>
        </p:nvSpPr>
        <p:spPr>
          <a:xfrm>
            <a:off x="2392291" y="2476402"/>
            <a:ext cx="248270" cy="330200"/>
          </a:xfrm>
          <a:prstGeom prst="trapezoi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aute 24"/>
          <p:cNvSpPr>
            <a:spLocks noChangeAspect="1"/>
          </p:cNvSpPr>
          <p:nvPr/>
        </p:nvSpPr>
        <p:spPr>
          <a:xfrm>
            <a:off x="2820561" y="2476402"/>
            <a:ext cx="330200" cy="330200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gelmäßiges Fünfeck 25"/>
          <p:cNvSpPr>
            <a:spLocks noChangeAspect="1"/>
          </p:cNvSpPr>
          <p:nvPr/>
        </p:nvSpPr>
        <p:spPr>
          <a:xfrm>
            <a:off x="3330761" y="2476402"/>
            <a:ext cx="346710" cy="330200"/>
          </a:xfrm>
          <a:prstGeom prst="pentagon">
            <a:avLst>
              <a:gd name="hf" fmla="val 105146"/>
              <a:gd name="vf" fmla="val 110557"/>
            </a:avLst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echseck 26"/>
          <p:cNvSpPr>
            <a:spLocks noChangeAspect="1"/>
          </p:cNvSpPr>
          <p:nvPr/>
        </p:nvSpPr>
        <p:spPr>
          <a:xfrm>
            <a:off x="3857471" y="2476402"/>
            <a:ext cx="383032" cy="3302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Siebeneck 27"/>
          <p:cNvSpPr>
            <a:spLocks noChangeAspect="1"/>
          </p:cNvSpPr>
          <p:nvPr/>
        </p:nvSpPr>
        <p:spPr>
          <a:xfrm>
            <a:off x="4420503" y="2476402"/>
            <a:ext cx="330200" cy="330200"/>
          </a:xfrm>
          <a:prstGeom prst="heptagon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chteck 28"/>
          <p:cNvSpPr>
            <a:spLocks noChangeAspect="1"/>
          </p:cNvSpPr>
          <p:nvPr/>
        </p:nvSpPr>
        <p:spPr>
          <a:xfrm>
            <a:off x="4930703" y="2476402"/>
            <a:ext cx="330200" cy="330200"/>
          </a:xfrm>
          <a:prstGeom prst="octagon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Zehneck 29"/>
          <p:cNvSpPr>
            <a:spLocks noChangeAspect="1"/>
          </p:cNvSpPr>
          <p:nvPr/>
        </p:nvSpPr>
        <p:spPr>
          <a:xfrm>
            <a:off x="5440903" y="2476402"/>
            <a:ext cx="330200" cy="330200"/>
          </a:xfrm>
          <a:prstGeom prst="decagon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Zwölfeck 30"/>
          <p:cNvSpPr>
            <a:spLocks noChangeAspect="1"/>
          </p:cNvSpPr>
          <p:nvPr/>
        </p:nvSpPr>
        <p:spPr>
          <a:xfrm>
            <a:off x="215093" y="2955316"/>
            <a:ext cx="330200" cy="330200"/>
          </a:xfrm>
          <a:prstGeom prst="dodec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Kreis 31"/>
          <p:cNvSpPr>
            <a:spLocks noChangeAspect="1"/>
          </p:cNvSpPr>
          <p:nvPr/>
        </p:nvSpPr>
        <p:spPr>
          <a:xfrm>
            <a:off x="725293" y="2955316"/>
            <a:ext cx="330200" cy="330200"/>
          </a:xfrm>
          <a:prstGeom prst="p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3" name="Sehne 32"/>
          <p:cNvSpPr>
            <a:spLocks noChangeAspect="1"/>
          </p:cNvSpPr>
          <p:nvPr/>
        </p:nvSpPr>
        <p:spPr>
          <a:xfrm>
            <a:off x="1235493" y="2955316"/>
            <a:ext cx="330200" cy="330200"/>
          </a:xfrm>
          <a:prstGeom prst="chor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räne 33"/>
          <p:cNvSpPr>
            <a:spLocks noChangeAspect="1"/>
          </p:cNvSpPr>
          <p:nvPr/>
        </p:nvSpPr>
        <p:spPr>
          <a:xfrm>
            <a:off x="1745693" y="2955316"/>
            <a:ext cx="330200" cy="330200"/>
          </a:xfrm>
          <a:prstGeom prst="teardrop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ahmen 34"/>
          <p:cNvSpPr>
            <a:spLocks noChangeAspect="1"/>
          </p:cNvSpPr>
          <p:nvPr/>
        </p:nvSpPr>
        <p:spPr>
          <a:xfrm>
            <a:off x="2255893" y="2955316"/>
            <a:ext cx="330200" cy="330200"/>
          </a:xfrm>
          <a:prstGeom prst="fra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6" name="Halber Rahmen 35"/>
          <p:cNvSpPr>
            <a:spLocks noChangeAspect="1"/>
          </p:cNvSpPr>
          <p:nvPr/>
        </p:nvSpPr>
        <p:spPr>
          <a:xfrm>
            <a:off x="2766093" y="2955316"/>
            <a:ext cx="330200" cy="330200"/>
          </a:xfrm>
          <a:prstGeom prst="halfFram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7" name="L-Form 36"/>
          <p:cNvSpPr>
            <a:spLocks noChangeAspect="1"/>
          </p:cNvSpPr>
          <p:nvPr/>
        </p:nvSpPr>
        <p:spPr>
          <a:xfrm>
            <a:off x="3276293" y="2955316"/>
            <a:ext cx="330200" cy="330200"/>
          </a:xfrm>
          <a:prstGeom prst="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Diagonaler Streifen 37"/>
          <p:cNvSpPr>
            <a:spLocks noChangeAspect="1"/>
          </p:cNvSpPr>
          <p:nvPr/>
        </p:nvSpPr>
        <p:spPr>
          <a:xfrm>
            <a:off x="3786493" y="2955316"/>
            <a:ext cx="330200" cy="330200"/>
          </a:xfrm>
          <a:prstGeom prst="diagStrip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9" name="Kreuz 38"/>
          <p:cNvSpPr>
            <a:spLocks noChangeAspect="1"/>
          </p:cNvSpPr>
          <p:nvPr/>
        </p:nvSpPr>
        <p:spPr>
          <a:xfrm>
            <a:off x="4296693" y="2955316"/>
            <a:ext cx="330200" cy="330200"/>
          </a:xfrm>
          <a:prstGeom prst="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Zierrahmen 39"/>
          <p:cNvSpPr>
            <a:spLocks noChangeAspect="1"/>
          </p:cNvSpPr>
          <p:nvPr/>
        </p:nvSpPr>
        <p:spPr>
          <a:xfrm>
            <a:off x="4806893" y="2955316"/>
            <a:ext cx="330200" cy="330200"/>
          </a:xfrm>
          <a:prstGeom prst="plaqu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Zylinder 40"/>
          <p:cNvSpPr>
            <a:spLocks noChangeAspect="1"/>
          </p:cNvSpPr>
          <p:nvPr/>
        </p:nvSpPr>
        <p:spPr>
          <a:xfrm>
            <a:off x="5317093" y="2955316"/>
            <a:ext cx="248271" cy="33020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Cube 41"/>
          <p:cNvSpPr>
            <a:spLocks noChangeAspect="1"/>
          </p:cNvSpPr>
          <p:nvPr/>
        </p:nvSpPr>
        <p:spPr>
          <a:xfrm>
            <a:off x="5745364" y="2955316"/>
            <a:ext cx="330200" cy="330200"/>
          </a:xfrm>
          <a:prstGeom prst="cub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ahmen 42"/>
          <p:cNvSpPr>
            <a:spLocks noChangeAspect="1"/>
          </p:cNvSpPr>
          <p:nvPr/>
        </p:nvSpPr>
        <p:spPr>
          <a:xfrm>
            <a:off x="189693" y="3463876"/>
            <a:ext cx="330200" cy="330200"/>
          </a:xfrm>
          <a:prstGeom prst="beve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ad 43"/>
          <p:cNvSpPr>
            <a:spLocks noChangeAspect="1"/>
          </p:cNvSpPr>
          <p:nvPr/>
        </p:nvSpPr>
        <p:spPr>
          <a:xfrm>
            <a:off x="699893" y="3463876"/>
            <a:ext cx="330200" cy="330200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5" name="Verbotsymbol 44"/>
          <p:cNvSpPr>
            <a:spLocks noChangeAspect="1"/>
          </p:cNvSpPr>
          <p:nvPr/>
        </p:nvSpPr>
        <p:spPr>
          <a:xfrm>
            <a:off x="1210093" y="3463876"/>
            <a:ext cx="330200" cy="330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6" name="Halbbogen 45"/>
          <p:cNvSpPr>
            <a:spLocks noChangeAspect="1"/>
          </p:cNvSpPr>
          <p:nvPr/>
        </p:nvSpPr>
        <p:spPr>
          <a:xfrm>
            <a:off x="1720293" y="3463876"/>
            <a:ext cx="330200" cy="330200"/>
          </a:xfrm>
          <a:prstGeom prst="blockArc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7" name="Gefaltete Ecke 46"/>
          <p:cNvSpPr>
            <a:spLocks noChangeAspect="1"/>
          </p:cNvSpPr>
          <p:nvPr/>
        </p:nvSpPr>
        <p:spPr>
          <a:xfrm>
            <a:off x="2230493" y="3463876"/>
            <a:ext cx="330200" cy="33020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Smiley 47"/>
          <p:cNvSpPr>
            <a:spLocks noChangeAspect="1"/>
          </p:cNvSpPr>
          <p:nvPr/>
        </p:nvSpPr>
        <p:spPr>
          <a:xfrm>
            <a:off x="2740693" y="3463876"/>
            <a:ext cx="330200" cy="330200"/>
          </a:xfrm>
          <a:prstGeom prst="smileyFace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Herz 48"/>
          <p:cNvSpPr>
            <a:spLocks noChangeAspect="1"/>
          </p:cNvSpPr>
          <p:nvPr/>
        </p:nvSpPr>
        <p:spPr>
          <a:xfrm>
            <a:off x="3250893" y="3463876"/>
            <a:ext cx="330200" cy="330200"/>
          </a:xfrm>
          <a:prstGeom prst="hear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Gewitterblitz 49"/>
          <p:cNvSpPr>
            <a:spLocks noChangeAspect="1"/>
          </p:cNvSpPr>
          <p:nvPr/>
        </p:nvSpPr>
        <p:spPr>
          <a:xfrm>
            <a:off x="3761093" y="3463876"/>
            <a:ext cx="330200" cy="33020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Sonne 50"/>
          <p:cNvSpPr>
            <a:spLocks noChangeAspect="1"/>
          </p:cNvSpPr>
          <p:nvPr/>
        </p:nvSpPr>
        <p:spPr>
          <a:xfrm>
            <a:off x="4271293" y="3463876"/>
            <a:ext cx="330200" cy="330200"/>
          </a:xfrm>
          <a:prstGeom prst="sun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Mond 51"/>
          <p:cNvSpPr>
            <a:spLocks noChangeAspect="1"/>
          </p:cNvSpPr>
          <p:nvPr/>
        </p:nvSpPr>
        <p:spPr>
          <a:xfrm>
            <a:off x="4781493" y="3463876"/>
            <a:ext cx="165100" cy="330200"/>
          </a:xfrm>
          <a:prstGeom prst="mo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Wolke 52"/>
          <p:cNvSpPr>
            <a:spLocks noChangeAspect="1"/>
          </p:cNvSpPr>
          <p:nvPr/>
        </p:nvSpPr>
        <p:spPr>
          <a:xfrm>
            <a:off x="5126593" y="3463876"/>
            <a:ext cx="330200" cy="3302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Bogen 53"/>
          <p:cNvSpPr>
            <a:spLocks noChangeAspect="1"/>
          </p:cNvSpPr>
          <p:nvPr/>
        </p:nvSpPr>
        <p:spPr>
          <a:xfrm>
            <a:off x="5306593" y="3463876"/>
            <a:ext cx="660400" cy="660400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unde Klammer links/rechts 54"/>
          <p:cNvSpPr>
            <a:spLocks noChangeAspect="1"/>
          </p:cNvSpPr>
          <p:nvPr/>
        </p:nvSpPr>
        <p:spPr>
          <a:xfrm>
            <a:off x="219743" y="3951657"/>
            <a:ext cx="330200" cy="330200"/>
          </a:xfrm>
          <a:prstGeom prst="bracket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Geschweifte Klammer links/rechts 55"/>
          <p:cNvSpPr>
            <a:spLocks noChangeAspect="1"/>
          </p:cNvSpPr>
          <p:nvPr/>
        </p:nvSpPr>
        <p:spPr>
          <a:xfrm>
            <a:off x="729943" y="3951657"/>
            <a:ext cx="386334" cy="330200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Eckige Klammer links 57"/>
          <p:cNvSpPr>
            <a:spLocks noChangeAspect="1"/>
          </p:cNvSpPr>
          <p:nvPr/>
        </p:nvSpPr>
        <p:spPr>
          <a:xfrm>
            <a:off x="1296277" y="3951657"/>
            <a:ext cx="26416" cy="330200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Eckige Klammer rechts 58"/>
          <p:cNvSpPr>
            <a:spLocks noChangeAspect="1"/>
          </p:cNvSpPr>
          <p:nvPr/>
        </p:nvSpPr>
        <p:spPr>
          <a:xfrm>
            <a:off x="1502693" y="3951657"/>
            <a:ext cx="26416" cy="330200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Geschweifte Klammer links 59"/>
          <p:cNvSpPr>
            <a:spLocks noChangeAspect="1"/>
          </p:cNvSpPr>
          <p:nvPr/>
        </p:nvSpPr>
        <p:spPr>
          <a:xfrm>
            <a:off x="1709109" y="3951657"/>
            <a:ext cx="56134" cy="33020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Geschweifte Klammer rechts 60"/>
          <p:cNvSpPr>
            <a:spLocks noChangeAspect="1"/>
          </p:cNvSpPr>
          <p:nvPr/>
        </p:nvSpPr>
        <p:spPr>
          <a:xfrm>
            <a:off x="1945243" y="3951657"/>
            <a:ext cx="56134" cy="3302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Pfeil nach rechts 61"/>
          <p:cNvSpPr>
            <a:spLocks noChangeAspect="1"/>
          </p:cNvSpPr>
          <p:nvPr/>
        </p:nvSpPr>
        <p:spPr>
          <a:xfrm>
            <a:off x="215093" y="4546600"/>
            <a:ext cx="436075" cy="216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Pfeil nach links 62"/>
          <p:cNvSpPr>
            <a:spLocks noChangeAspect="1"/>
          </p:cNvSpPr>
          <p:nvPr/>
        </p:nvSpPr>
        <p:spPr>
          <a:xfrm>
            <a:off x="831168" y="4546600"/>
            <a:ext cx="436075" cy="21600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Pfeil nach oben 63"/>
          <p:cNvSpPr>
            <a:spLocks noChangeAspect="1"/>
          </p:cNvSpPr>
          <p:nvPr/>
        </p:nvSpPr>
        <p:spPr>
          <a:xfrm>
            <a:off x="1447243" y="4546600"/>
            <a:ext cx="106991" cy="21600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Pfeil nach unten 64"/>
          <p:cNvSpPr>
            <a:spLocks noChangeAspect="1"/>
          </p:cNvSpPr>
          <p:nvPr/>
        </p:nvSpPr>
        <p:spPr>
          <a:xfrm>
            <a:off x="1734234" y="4546600"/>
            <a:ext cx="106991" cy="2160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Pfeil nach links und rechts 65"/>
          <p:cNvSpPr>
            <a:spLocks noChangeAspect="1"/>
          </p:cNvSpPr>
          <p:nvPr/>
        </p:nvSpPr>
        <p:spPr>
          <a:xfrm>
            <a:off x="2021225" y="4546600"/>
            <a:ext cx="542038" cy="21600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Pfeil nach oben und unten 66"/>
          <p:cNvSpPr>
            <a:spLocks noChangeAspect="1"/>
          </p:cNvSpPr>
          <p:nvPr/>
        </p:nvSpPr>
        <p:spPr>
          <a:xfrm>
            <a:off x="2743263" y="4546600"/>
            <a:ext cx="86075" cy="2160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Pfeil in vier Richtungen 67"/>
          <p:cNvSpPr>
            <a:spLocks noChangeAspect="1"/>
          </p:cNvSpPr>
          <p:nvPr/>
        </p:nvSpPr>
        <p:spPr>
          <a:xfrm>
            <a:off x="3009338" y="4546600"/>
            <a:ext cx="216000" cy="216000"/>
          </a:xfrm>
          <a:prstGeom prst="quadArrow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Pfeil nach links, rechts und oben 68"/>
          <p:cNvSpPr>
            <a:spLocks noChangeAspect="1"/>
          </p:cNvSpPr>
          <p:nvPr/>
        </p:nvSpPr>
        <p:spPr>
          <a:xfrm>
            <a:off x="3405338" y="4546600"/>
            <a:ext cx="308903" cy="216000"/>
          </a:xfrm>
          <a:prstGeom prst="leftRightUpArrow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hteckiger Pfeil 69"/>
          <p:cNvSpPr>
            <a:spLocks noChangeAspect="1"/>
          </p:cNvSpPr>
          <p:nvPr/>
        </p:nvSpPr>
        <p:spPr>
          <a:xfrm>
            <a:off x="3894241" y="4546600"/>
            <a:ext cx="202358" cy="216000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1" name="180-Grad-Pfeil 70"/>
          <p:cNvSpPr>
            <a:spLocks noChangeAspect="1"/>
          </p:cNvSpPr>
          <p:nvPr/>
        </p:nvSpPr>
        <p:spPr>
          <a:xfrm>
            <a:off x="4276599" y="4546600"/>
            <a:ext cx="218249" cy="216000"/>
          </a:xfrm>
          <a:prstGeom prst="uturn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2" name="Pfeil nach links und oben 71"/>
          <p:cNvSpPr>
            <a:spLocks noChangeAspect="1"/>
          </p:cNvSpPr>
          <p:nvPr/>
        </p:nvSpPr>
        <p:spPr>
          <a:xfrm>
            <a:off x="4674848" y="4546600"/>
            <a:ext cx="216000" cy="216000"/>
          </a:xfrm>
          <a:prstGeom prst="leftUpArrow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Nach oben gebogener Pfeil 72"/>
          <p:cNvSpPr>
            <a:spLocks noChangeAspect="1"/>
          </p:cNvSpPr>
          <p:nvPr/>
        </p:nvSpPr>
        <p:spPr>
          <a:xfrm>
            <a:off x="5070848" y="4546600"/>
            <a:ext cx="251100" cy="216000"/>
          </a:xfrm>
          <a:prstGeom prst="bent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Nach rechts gekrümmter Pfeil 73"/>
          <p:cNvSpPr>
            <a:spLocks noChangeAspect="1"/>
          </p:cNvSpPr>
          <p:nvPr/>
        </p:nvSpPr>
        <p:spPr>
          <a:xfrm>
            <a:off x="286836" y="4970840"/>
            <a:ext cx="129925" cy="216000"/>
          </a:xfrm>
          <a:prstGeom prst="curvedRight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Nach links gekrümmter Pfeil 74"/>
          <p:cNvSpPr>
            <a:spLocks noChangeAspect="1"/>
          </p:cNvSpPr>
          <p:nvPr/>
        </p:nvSpPr>
        <p:spPr>
          <a:xfrm>
            <a:off x="596761" y="4970840"/>
            <a:ext cx="129925" cy="216000"/>
          </a:xfrm>
          <a:prstGeom prst="curvedLeft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6" name="Nach oben gekrümmter Pfeil 75"/>
          <p:cNvSpPr>
            <a:spLocks noChangeAspect="1"/>
          </p:cNvSpPr>
          <p:nvPr/>
        </p:nvSpPr>
        <p:spPr>
          <a:xfrm>
            <a:off x="906686" y="4970840"/>
            <a:ext cx="359100" cy="216000"/>
          </a:xfrm>
          <a:prstGeom prst="curvedUp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Nach unten gekrümmter Pfeil 76"/>
          <p:cNvSpPr>
            <a:spLocks noChangeAspect="1"/>
          </p:cNvSpPr>
          <p:nvPr/>
        </p:nvSpPr>
        <p:spPr>
          <a:xfrm>
            <a:off x="1445786" y="4970840"/>
            <a:ext cx="359100" cy="216000"/>
          </a:xfrm>
          <a:prstGeom prst="curvedDown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Gestreifter Pfeil nach rechts 77"/>
          <p:cNvSpPr>
            <a:spLocks noChangeAspect="1"/>
          </p:cNvSpPr>
          <p:nvPr/>
        </p:nvSpPr>
        <p:spPr>
          <a:xfrm>
            <a:off x="1984886" y="4970840"/>
            <a:ext cx="436075" cy="216000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Eingekerbter Pfeil nach rechts 78"/>
          <p:cNvSpPr>
            <a:spLocks noChangeAspect="1"/>
          </p:cNvSpPr>
          <p:nvPr/>
        </p:nvSpPr>
        <p:spPr>
          <a:xfrm>
            <a:off x="2600961" y="4970840"/>
            <a:ext cx="436075" cy="21600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Richtungspfeil 79"/>
          <p:cNvSpPr>
            <a:spLocks noChangeAspect="1"/>
          </p:cNvSpPr>
          <p:nvPr/>
        </p:nvSpPr>
        <p:spPr>
          <a:xfrm>
            <a:off x="3217036" y="4970840"/>
            <a:ext cx="436076" cy="2160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Chevron 80"/>
          <p:cNvSpPr>
            <a:spLocks noChangeAspect="1"/>
          </p:cNvSpPr>
          <p:nvPr/>
        </p:nvSpPr>
        <p:spPr>
          <a:xfrm>
            <a:off x="3833112" y="4970840"/>
            <a:ext cx="216000" cy="21600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2" name="Legende mit Pfeil nach rechts 81"/>
          <p:cNvSpPr>
            <a:spLocks noChangeAspect="1"/>
          </p:cNvSpPr>
          <p:nvPr/>
        </p:nvSpPr>
        <p:spPr>
          <a:xfrm>
            <a:off x="4229112" y="4970840"/>
            <a:ext cx="216000" cy="216000"/>
          </a:xfrm>
          <a:prstGeom prst="right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Legende mit Pfeil nach unten 82"/>
          <p:cNvSpPr>
            <a:spLocks noChangeAspect="1"/>
          </p:cNvSpPr>
          <p:nvPr/>
        </p:nvSpPr>
        <p:spPr>
          <a:xfrm>
            <a:off x="4625112" y="4970840"/>
            <a:ext cx="216000" cy="216000"/>
          </a:xfrm>
          <a:prstGeom prst="down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Legende mit Pfeil nach links 83"/>
          <p:cNvSpPr>
            <a:spLocks noChangeAspect="1"/>
          </p:cNvSpPr>
          <p:nvPr/>
        </p:nvSpPr>
        <p:spPr>
          <a:xfrm>
            <a:off x="5021112" y="4970840"/>
            <a:ext cx="216000" cy="216000"/>
          </a:xfrm>
          <a:prstGeom prst="left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Legende mit Pfeil nach oben 84"/>
          <p:cNvSpPr>
            <a:spLocks noChangeAspect="1"/>
          </p:cNvSpPr>
          <p:nvPr/>
        </p:nvSpPr>
        <p:spPr>
          <a:xfrm>
            <a:off x="5417112" y="4970840"/>
            <a:ext cx="216000" cy="216000"/>
          </a:xfrm>
          <a:prstGeom prst="up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Legende mit Pfeil nach links und rechts 85"/>
          <p:cNvSpPr>
            <a:spLocks noChangeAspect="1"/>
          </p:cNvSpPr>
          <p:nvPr/>
        </p:nvSpPr>
        <p:spPr>
          <a:xfrm>
            <a:off x="283500" y="5380267"/>
            <a:ext cx="456000" cy="216000"/>
          </a:xfrm>
          <a:prstGeom prst="leftRight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Legende mit Pfeil in vier Richtungen 86"/>
          <p:cNvSpPr>
            <a:spLocks noChangeAspect="1"/>
          </p:cNvSpPr>
          <p:nvPr/>
        </p:nvSpPr>
        <p:spPr>
          <a:xfrm>
            <a:off x="919500" y="5380267"/>
            <a:ext cx="216000" cy="216000"/>
          </a:xfrm>
          <a:prstGeom prst="quad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Gebogener Pfeil 87"/>
          <p:cNvSpPr>
            <a:spLocks noChangeAspect="1"/>
          </p:cNvSpPr>
          <p:nvPr/>
        </p:nvSpPr>
        <p:spPr>
          <a:xfrm>
            <a:off x="1315500" y="5380267"/>
            <a:ext cx="216000" cy="216000"/>
          </a:xfrm>
          <a:prstGeom prst="circular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9" name="Plus 88"/>
          <p:cNvSpPr>
            <a:spLocks noChangeAspect="1"/>
          </p:cNvSpPr>
          <p:nvPr/>
        </p:nvSpPr>
        <p:spPr>
          <a:xfrm>
            <a:off x="361143" y="5789694"/>
            <a:ext cx="336068" cy="336068"/>
          </a:xfrm>
          <a:prstGeom prst="mathPlus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Minus 89"/>
          <p:cNvSpPr>
            <a:spLocks noChangeAspect="1"/>
          </p:cNvSpPr>
          <p:nvPr/>
        </p:nvSpPr>
        <p:spPr>
          <a:xfrm>
            <a:off x="877211" y="5789694"/>
            <a:ext cx="336068" cy="336068"/>
          </a:xfrm>
          <a:prstGeom prst="mathMinus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Multiplizieren 90"/>
          <p:cNvSpPr>
            <a:spLocks noChangeAspect="1"/>
          </p:cNvSpPr>
          <p:nvPr/>
        </p:nvSpPr>
        <p:spPr>
          <a:xfrm>
            <a:off x="1393279" y="5789694"/>
            <a:ext cx="336068" cy="336068"/>
          </a:xfrm>
          <a:prstGeom prst="mathMultiply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Division 91"/>
          <p:cNvSpPr>
            <a:spLocks noChangeAspect="1"/>
          </p:cNvSpPr>
          <p:nvPr/>
        </p:nvSpPr>
        <p:spPr>
          <a:xfrm>
            <a:off x="1909347" y="5789694"/>
            <a:ext cx="336068" cy="336068"/>
          </a:xfrm>
          <a:prstGeom prst="mathDivide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Gleich 92"/>
          <p:cNvSpPr>
            <a:spLocks noChangeAspect="1"/>
          </p:cNvSpPr>
          <p:nvPr/>
        </p:nvSpPr>
        <p:spPr>
          <a:xfrm>
            <a:off x="2425415" y="5789694"/>
            <a:ext cx="336068" cy="336068"/>
          </a:xfrm>
          <a:prstGeom prst="mathEqual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4" name="Ungleich 93"/>
          <p:cNvSpPr>
            <a:spLocks noChangeAspect="1"/>
          </p:cNvSpPr>
          <p:nvPr/>
        </p:nvSpPr>
        <p:spPr>
          <a:xfrm>
            <a:off x="2941483" y="5789694"/>
            <a:ext cx="336068" cy="336068"/>
          </a:xfrm>
          <a:prstGeom prst="mathNotEqual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5" name="Flussdiagramm: Prozess 94"/>
          <p:cNvSpPr>
            <a:spLocks noChangeAspect="1"/>
          </p:cNvSpPr>
          <p:nvPr/>
        </p:nvSpPr>
        <p:spPr>
          <a:xfrm>
            <a:off x="6243032" y="1995488"/>
            <a:ext cx="271370" cy="181818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lussdiagramm: Alternativer Prozess 95"/>
          <p:cNvSpPr>
            <a:spLocks noChangeAspect="1"/>
          </p:cNvSpPr>
          <p:nvPr/>
        </p:nvSpPr>
        <p:spPr>
          <a:xfrm>
            <a:off x="6694402" y="1995488"/>
            <a:ext cx="271370" cy="18181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Flussdiagramm: Verzweigung 96"/>
          <p:cNvSpPr>
            <a:spLocks noChangeAspect="1"/>
          </p:cNvSpPr>
          <p:nvPr/>
        </p:nvSpPr>
        <p:spPr>
          <a:xfrm>
            <a:off x="7145772" y="1995488"/>
            <a:ext cx="271370" cy="181818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Flussdiagramm: Daten 97"/>
          <p:cNvSpPr>
            <a:spLocks noChangeAspect="1"/>
          </p:cNvSpPr>
          <p:nvPr/>
        </p:nvSpPr>
        <p:spPr>
          <a:xfrm>
            <a:off x="7597142" y="1995488"/>
            <a:ext cx="271370" cy="181818"/>
          </a:xfrm>
          <a:prstGeom prst="flowChartInputOutp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lussdiagramm: Vordefinierter Prozess 98"/>
          <p:cNvSpPr>
            <a:spLocks noChangeAspect="1"/>
          </p:cNvSpPr>
          <p:nvPr/>
        </p:nvSpPr>
        <p:spPr>
          <a:xfrm>
            <a:off x="8048512" y="1995488"/>
            <a:ext cx="271370" cy="181818"/>
          </a:xfrm>
          <a:prstGeom prst="flowChartPredefined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1" name="Gerader Verbinder 100"/>
          <p:cNvCxnSpPr/>
          <p:nvPr/>
        </p:nvCxnSpPr>
        <p:spPr>
          <a:xfrm>
            <a:off x="6096000" y="110094"/>
            <a:ext cx="0" cy="64939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Flussdiagramm: Zentralspeicher 103"/>
          <p:cNvSpPr>
            <a:spLocks noChangeAspect="1"/>
          </p:cNvSpPr>
          <p:nvPr/>
        </p:nvSpPr>
        <p:spPr>
          <a:xfrm>
            <a:off x="8499882" y="1995488"/>
            <a:ext cx="181818" cy="181818"/>
          </a:xfrm>
          <a:prstGeom prst="flowChartInternalStora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Flussdiagramm: Dokument 104"/>
          <p:cNvSpPr>
            <a:spLocks noChangeAspect="1"/>
          </p:cNvSpPr>
          <p:nvPr/>
        </p:nvSpPr>
        <p:spPr>
          <a:xfrm>
            <a:off x="8861700" y="1995488"/>
            <a:ext cx="271370" cy="181818"/>
          </a:xfrm>
          <a:prstGeom prst="flowChart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Flussdiagramm: Mehrere Dokumente 105"/>
          <p:cNvSpPr>
            <a:spLocks noChangeAspect="1"/>
          </p:cNvSpPr>
          <p:nvPr/>
        </p:nvSpPr>
        <p:spPr>
          <a:xfrm>
            <a:off x="9313070" y="1995488"/>
            <a:ext cx="254107" cy="181818"/>
          </a:xfrm>
          <a:prstGeom prst="flowChartMulti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Flussdiagramm: Grenzstelle 106"/>
          <p:cNvSpPr>
            <a:spLocks noChangeAspect="1"/>
          </p:cNvSpPr>
          <p:nvPr/>
        </p:nvSpPr>
        <p:spPr>
          <a:xfrm>
            <a:off x="9747177" y="1995488"/>
            <a:ext cx="550964" cy="181818"/>
          </a:xfrm>
          <a:prstGeom prst="flowChartTermina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Flussdiagramm: Vorbereitung 107"/>
          <p:cNvSpPr>
            <a:spLocks noChangeAspect="1"/>
          </p:cNvSpPr>
          <p:nvPr/>
        </p:nvSpPr>
        <p:spPr>
          <a:xfrm>
            <a:off x="10478141" y="1995488"/>
            <a:ext cx="314789" cy="181818"/>
          </a:xfrm>
          <a:prstGeom prst="flowChartPreparat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Flussdiagramm: Manuelle Eingabe 108"/>
          <p:cNvSpPr>
            <a:spLocks noChangeAspect="1"/>
          </p:cNvSpPr>
          <p:nvPr/>
        </p:nvSpPr>
        <p:spPr>
          <a:xfrm>
            <a:off x="10972930" y="1995488"/>
            <a:ext cx="363636" cy="181818"/>
          </a:xfrm>
          <a:prstGeom prst="flowChartManualInp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Flussdiagramm: Manuelle Verarbeitung 109"/>
          <p:cNvSpPr>
            <a:spLocks noChangeAspect="1"/>
          </p:cNvSpPr>
          <p:nvPr/>
        </p:nvSpPr>
        <p:spPr>
          <a:xfrm>
            <a:off x="11516566" y="1995488"/>
            <a:ext cx="271370" cy="181818"/>
          </a:xfrm>
          <a:prstGeom prst="flowChartManualOperat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Flussdiagramm: Verbinder 110"/>
          <p:cNvSpPr>
            <a:spLocks noChangeAspect="1"/>
          </p:cNvSpPr>
          <p:nvPr/>
        </p:nvSpPr>
        <p:spPr>
          <a:xfrm>
            <a:off x="6257798" y="2451177"/>
            <a:ext cx="216000" cy="2160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Flussdiagramm: Verbinder zu einer anderen Seite 111"/>
          <p:cNvSpPr>
            <a:spLocks noChangeAspect="1"/>
          </p:cNvSpPr>
          <p:nvPr/>
        </p:nvSpPr>
        <p:spPr>
          <a:xfrm>
            <a:off x="6653798" y="2451177"/>
            <a:ext cx="216000" cy="216000"/>
          </a:xfrm>
          <a:prstGeom prst="flowChartOffpage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Flussdiagramm: Karte 112"/>
          <p:cNvSpPr>
            <a:spLocks noChangeAspect="1"/>
          </p:cNvSpPr>
          <p:nvPr/>
        </p:nvSpPr>
        <p:spPr>
          <a:xfrm>
            <a:off x="7049798" y="2451177"/>
            <a:ext cx="245455" cy="216000"/>
          </a:xfrm>
          <a:prstGeom prst="flowChartPunchedCar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Flussdiagramm: Lochstreifen 113"/>
          <p:cNvSpPr>
            <a:spLocks noChangeAspect="1"/>
          </p:cNvSpPr>
          <p:nvPr/>
        </p:nvSpPr>
        <p:spPr>
          <a:xfrm>
            <a:off x="7475253" y="2451177"/>
            <a:ext cx="245455" cy="216000"/>
          </a:xfrm>
          <a:prstGeom prst="flowChartPunchedTap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Flussdiagramm: Zusammenführung 114"/>
          <p:cNvSpPr>
            <a:spLocks noChangeAspect="1"/>
          </p:cNvSpPr>
          <p:nvPr/>
        </p:nvSpPr>
        <p:spPr>
          <a:xfrm>
            <a:off x="7900708" y="2451177"/>
            <a:ext cx="216000" cy="216000"/>
          </a:xfrm>
          <a:prstGeom prst="flowChartSummingJunct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Flussdiagramm: Oder 115"/>
          <p:cNvSpPr>
            <a:spLocks noChangeAspect="1"/>
          </p:cNvSpPr>
          <p:nvPr/>
        </p:nvSpPr>
        <p:spPr>
          <a:xfrm>
            <a:off x="8296708" y="2451177"/>
            <a:ext cx="216000" cy="216000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Flussdiagramm: Zusammenstellen 116"/>
          <p:cNvSpPr>
            <a:spLocks noChangeAspect="1"/>
          </p:cNvSpPr>
          <p:nvPr/>
        </p:nvSpPr>
        <p:spPr>
          <a:xfrm>
            <a:off x="8692708" y="2451177"/>
            <a:ext cx="108000" cy="216000"/>
          </a:xfrm>
          <a:prstGeom prst="flowChartCol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8" name="Flussdiagramm: Sortieren 117"/>
          <p:cNvSpPr>
            <a:spLocks noChangeAspect="1"/>
          </p:cNvSpPr>
          <p:nvPr/>
        </p:nvSpPr>
        <p:spPr>
          <a:xfrm>
            <a:off x="8980708" y="2451177"/>
            <a:ext cx="108000" cy="216000"/>
          </a:xfrm>
          <a:prstGeom prst="flowChartSor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Flussdiagramm: Auszug 118"/>
          <p:cNvSpPr>
            <a:spLocks noChangeAspect="1"/>
          </p:cNvSpPr>
          <p:nvPr/>
        </p:nvSpPr>
        <p:spPr>
          <a:xfrm>
            <a:off x="9268708" y="2451177"/>
            <a:ext cx="216000" cy="216000"/>
          </a:xfrm>
          <a:prstGeom prst="flowChartExtra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Flussdiagramm: Zusammenführen 119"/>
          <p:cNvSpPr>
            <a:spLocks noChangeAspect="1"/>
          </p:cNvSpPr>
          <p:nvPr/>
        </p:nvSpPr>
        <p:spPr>
          <a:xfrm>
            <a:off x="9664708" y="2451177"/>
            <a:ext cx="216000" cy="216000"/>
          </a:xfrm>
          <a:prstGeom prst="flowChartMer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Flussdiagramm: Gespeicherte Daten 120"/>
          <p:cNvSpPr>
            <a:spLocks noChangeAspect="1"/>
          </p:cNvSpPr>
          <p:nvPr/>
        </p:nvSpPr>
        <p:spPr>
          <a:xfrm>
            <a:off x="10060708" y="2451177"/>
            <a:ext cx="322389" cy="216000"/>
          </a:xfrm>
          <a:prstGeom prst="flowChartOnlineStora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Flussdiagramm: Verzögerung 121"/>
          <p:cNvSpPr>
            <a:spLocks noChangeAspect="1"/>
          </p:cNvSpPr>
          <p:nvPr/>
        </p:nvSpPr>
        <p:spPr>
          <a:xfrm>
            <a:off x="10563097" y="2451177"/>
            <a:ext cx="216000" cy="216000"/>
          </a:xfrm>
          <a:prstGeom prst="flowChartDela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Flussdiagramm: Datenträger mit sequenziellem Zugriff 122"/>
          <p:cNvSpPr>
            <a:spLocks noChangeAspect="1"/>
          </p:cNvSpPr>
          <p:nvPr/>
        </p:nvSpPr>
        <p:spPr>
          <a:xfrm>
            <a:off x="6296765" y="2835502"/>
            <a:ext cx="233956" cy="233956"/>
          </a:xfrm>
          <a:prstGeom prst="flowChartMagneticTap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Flussdiagramm: Magnetplattenspeicher 123"/>
          <p:cNvSpPr>
            <a:spLocks noChangeAspect="1"/>
          </p:cNvSpPr>
          <p:nvPr/>
        </p:nvSpPr>
        <p:spPr>
          <a:xfrm>
            <a:off x="6709156" y="2835502"/>
            <a:ext cx="349188" cy="23395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Flussdiagramm: Datenträger mit direktem Zugriff 124"/>
          <p:cNvSpPr>
            <a:spLocks noChangeAspect="1"/>
          </p:cNvSpPr>
          <p:nvPr/>
        </p:nvSpPr>
        <p:spPr>
          <a:xfrm>
            <a:off x="7236780" y="2835502"/>
            <a:ext cx="311941" cy="233956"/>
          </a:xfrm>
          <a:prstGeom prst="flowChartMagneticDrum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Flussdiagramm: Anzeige 125"/>
          <p:cNvSpPr>
            <a:spLocks noChangeAspect="1"/>
          </p:cNvSpPr>
          <p:nvPr/>
        </p:nvSpPr>
        <p:spPr>
          <a:xfrm>
            <a:off x="7727156" y="2835502"/>
            <a:ext cx="349188" cy="233956"/>
          </a:xfrm>
          <a:prstGeom prst="flowChartDispla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Explosion 1 126"/>
          <p:cNvSpPr>
            <a:spLocks noChangeAspect="1"/>
          </p:cNvSpPr>
          <p:nvPr/>
        </p:nvSpPr>
        <p:spPr>
          <a:xfrm>
            <a:off x="6362956" y="3475654"/>
            <a:ext cx="252000" cy="252000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Explosion 2 127"/>
          <p:cNvSpPr>
            <a:spLocks noChangeAspect="1"/>
          </p:cNvSpPr>
          <p:nvPr/>
        </p:nvSpPr>
        <p:spPr>
          <a:xfrm>
            <a:off x="6794956" y="3475654"/>
            <a:ext cx="252000" cy="252000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Stern mit 4 Zacken 128"/>
          <p:cNvSpPr>
            <a:spLocks noChangeAspect="1"/>
          </p:cNvSpPr>
          <p:nvPr/>
        </p:nvSpPr>
        <p:spPr>
          <a:xfrm>
            <a:off x="7226956" y="3475654"/>
            <a:ext cx="252000" cy="252000"/>
          </a:xfrm>
          <a:prstGeom prst="star4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Stern mit 5 Zacken 129"/>
          <p:cNvSpPr>
            <a:spLocks noChangeAspect="1"/>
          </p:cNvSpPr>
          <p:nvPr/>
        </p:nvSpPr>
        <p:spPr>
          <a:xfrm>
            <a:off x="7658956" y="3475654"/>
            <a:ext cx="252000" cy="252000"/>
          </a:xfrm>
          <a:prstGeom prst="star5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Stern mit 6 Zacken 130"/>
          <p:cNvSpPr>
            <a:spLocks noChangeAspect="1"/>
          </p:cNvSpPr>
          <p:nvPr/>
        </p:nvSpPr>
        <p:spPr>
          <a:xfrm>
            <a:off x="8090956" y="3475654"/>
            <a:ext cx="252000" cy="252000"/>
          </a:xfrm>
          <a:prstGeom prst="star6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Stern mit 7 Zacken 131"/>
          <p:cNvSpPr>
            <a:spLocks noChangeAspect="1"/>
          </p:cNvSpPr>
          <p:nvPr/>
        </p:nvSpPr>
        <p:spPr>
          <a:xfrm>
            <a:off x="8522956" y="3475654"/>
            <a:ext cx="252000" cy="252000"/>
          </a:xfrm>
          <a:prstGeom prst="star7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Stern mit 8 Zacken 132"/>
          <p:cNvSpPr>
            <a:spLocks noChangeAspect="1"/>
          </p:cNvSpPr>
          <p:nvPr/>
        </p:nvSpPr>
        <p:spPr>
          <a:xfrm>
            <a:off x="8954956" y="3475654"/>
            <a:ext cx="252000" cy="252000"/>
          </a:xfrm>
          <a:prstGeom prst="star8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Stern mit 10 Zacken 133"/>
          <p:cNvSpPr>
            <a:spLocks noChangeAspect="1"/>
          </p:cNvSpPr>
          <p:nvPr/>
        </p:nvSpPr>
        <p:spPr>
          <a:xfrm>
            <a:off x="9386956" y="3475654"/>
            <a:ext cx="252000" cy="252000"/>
          </a:xfrm>
          <a:prstGeom prst="star10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Stern mit 12 Zacken 134"/>
          <p:cNvSpPr>
            <a:spLocks noChangeAspect="1"/>
          </p:cNvSpPr>
          <p:nvPr/>
        </p:nvSpPr>
        <p:spPr>
          <a:xfrm>
            <a:off x="9818956" y="3475654"/>
            <a:ext cx="252000" cy="252000"/>
          </a:xfrm>
          <a:prstGeom prst="star1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Stern mit 16 Zacken 135"/>
          <p:cNvSpPr>
            <a:spLocks noChangeAspect="1"/>
          </p:cNvSpPr>
          <p:nvPr/>
        </p:nvSpPr>
        <p:spPr>
          <a:xfrm>
            <a:off x="10250956" y="3475654"/>
            <a:ext cx="252000" cy="252000"/>
          </a:xfrm>
          <a:prstGeom prst="star16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Stern mit 24 Zacken 136"/>
          <p:cNvSpPr>
            <a:spLocks noChangeAspect="1"/>
          </p:cNvSpPr>
          <p:nvPr/>
        </p:nvSpPr>
        <p:spPr>
          <a:xfrm>
            <a:off x="10682956" y="3475654"/>
            <a:ext cx="252000" cy="252000"/>
          </a:xfrm>
          <a:prstGeom prst="star24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Stern mit 32 Zacken 137"/>
          <p:cNvSpPr>
            <a:spLocks noChangeAspect="1"/>
          </p:cNvSpPr>
          <p:nvPr/>
        </p:nvSpPr>
        <p:spPr>
          <a:xfrm>
            <a:off x="11114956" y="3475654"/>
            <a:ext cx="252000" cy="252000"/>
          </a:xfrm>
          <a:prstGeom prst="star3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Band nach oben 138"/>
          <p:cNvSpPr>
            <a:spLocks noChangeAspect="1"/>
          </p:cNvSpPr>
          <p:nvPr/>
        </p:nvSpPr>
        <p:spPr>
          <a:xfrm>
            <a:off x="6277903" y="4090448"/>
            <a:ext cx="550576" cy="277358"/>
          </a:xfrm>
          <a:prstGeom prst="ribbon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Band nach unten 139"/>
          <p:cNvSpPr>
            <a:spLocks noChangeAspect="1"/>
          </p:cNvSpPr>
          <p:nvPr/>
        </p:nvSpPr>
        <p:spPr>
          <a:xfrm>
            <a:off x="7008479" y="4090448"/>
            <a:ext cx="550576" cy="277358"/>
          </a:xfrm>
          <a:prstGeom prst="ribbon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Nach oben gekrümmtes Band 140"/>
          <p:cNvSpPr>
            <a:spLocks noChangeAspect="1"/>
          </p:cNvSpPr>
          <p:nvPr/>
        </p:nvSpPr>
        <p:spPr>
          <a:xfrm>
            <a:off x="7739054" y="4090448"/>
            <a:ext cx="444441" cy="277358"/>
          </a:xfrm>
          <a:prstGeom prst="ellipseRibbon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Nach unten gekrümmtes Band 141"/>
          <p:cNvSpPr>
            <a:spLocks noChangeAspect="1"/>
          </p:cNvSpPr>
          <p:nvPr/>
        </p:nvSpPr>
        <p:spPr>
          <a:xfrm>
            <a:off x="8363496" y="4090448"/>
            <a:ext cx="444441" cy="277358"/>
          </a:xfrm>
          <a:prstGeom prst="ellipseRibbon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3" name="Vertikales Scrollen 142"/>
          <p:cNvSpPr>
            <a:spLocks noChangeAspect="1"/>
          </p:cNvSpPr>
          <p:nvPr/>
        </p:nvSpPr>
        <p:spPr>
          <a:xfrm>
            <a:off x="8987937" y="4090448"/>
            <a:ext cx="250732" cy="277358"/>
          </a:xfrm>
          <a:prstGeom prst="verticalScroll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4" name="Horizontales Scrollen 143"/>
          <p:cNvSpPr>
            <a:spLocks noChangeAspect="1"/>
          </p:cNvSpPr>
          <p:nvPr/>
        </p:nvSpPr>
        <p:spPr>
          <a:xfrm>
            <a:off x="9418669" y="4090448"/>
            <a:ext cx="306812" cy="277358"/>
          </a:xfrm>
          <a:prstGeom prst="horizontalScroll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5" name="Welle 144"/>
          <p:cNvSpPr>
            <a:spLocks noChangeAspect="1"/>
          </p:cNvSpPr>
          <p:nvPr/>
        </p:nvSpPr>
        <p:spPr>
          <a:xfrm>
            <a:off x="9905481" y="4090448"/>
            <a:ext cx="277358" cy="277358"/>
          </a:xfrm>
          <a:prstGeom prst="wave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6" name="Doppelte Welle 145"/>
          <p:cNvSpPr>
            <a:spLocks noChangeAspect="1"/>
          </p:cNvSpPr>
          <p:nvPr/>
        </p:nvSpPr>
        <p:spPr>
          <a:xfrm>
            <a:off x="10362839" y="4090448"/>
            <a:ext cx="277358" cy="277358"/>
          </a:xfrm>
          <a:prstGeom prst="doubleWave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Rechteckige Legende 146"/>
          <p:cNvSpPr>
            <a:spLocks noChangeAspect="1"/>
          </p:cNvSpPr>
          <p:nvPr/>
        </p:nvSpPr>
        <p:spPr>
          <a:xfrm>
            <a:off x="6335379" y="4777075"/>
            <a:ext cx="289201" cy="193765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Abgerundete rechteckige Legende 147"/>
          <p:cNvSpPr>
            <a:spLocks noChangeAspect="1"/>
          </p:cNvSpPr>
          <p:nvPr/>
        </p:nvSpPr>
        <p:spPr>
          <a:xfrm>
            <a:off x="6804580" y="4777075"/>
            <a:ext cx="289202" cy="193765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Ovale Legende 148"/>
          <p:cNvSpPr>
            <a:spLocks noChangeAspect="1"/>
          </p:cNvSpPr>
          <p:nvPr/>
        </p:nvSpPr>
        <p:spPr>
          <a:xfrm>
            <a:off x="7273782" y="4777075"/>
            <a:ext cx="289201" cy="193765"/>
          </a:xfrm>
          <a:prstGeom prst="wedgeEllipse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Wolkenförmige Legende 149"/>
          <p:cNvSpPr>
            <a:spLocks noChangeAspect="1"/>
          </p:cNvSpPr>
          <p:nvPr/>
        </p:nvSpPr>
        <p:spPr>
          <a:xfrm>
            <a:off x="7742983" y="4777075"/>
            <a:ext cx="289202" cy="193765"/>
          </a:xfrm>
          <a:prstGeom prst="cloud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Legende mit Linie 1 150"/>
          <p:cNvSpPr>
            <a:spLocks noChangeAspect="1"/>
          </p:cNvSpPr>
          <p:nvPr/>
        </p:nvSpPr>
        <p:spPr>
          <a:xfrm>
            <a:off x="8212185" y="4777075"/>
            <a:ext cx="289201" cy="193765"/>
          </a:xfrm>
          <a:prstGeom prst="borderCallout1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Legende mit Linie 2 151"/>
          <p:cNvSpPr>
            <a:spLocks noChangeAspect="1"/>
          </p:cNvSpPr>
          <p:nvPr/>
        </p:nvSpPr>
        <p:spPr>
          <a:xfrm>
            <a:off x="8681386" y="4777075"/>
            <a:ext cx="289201" cy="193765"/>
          </a:xfrm>
          <a:prstGeom prst="borderCallout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Legende mit Linie 3 152"/>
          <p:cNvSpPr>
            <a:spLocks noChangeAspect="1"/>
          </p:cNvSpPr>
          <p:nvPr/>
        </p:nvSpPr>
        <p:spPr>
          <a:xfrm>
            <a:off x="9150587" y="4777075"/>
            <a:ext cx="289202" cy="193765"/>
          </a:xfrm>
          <a:prstGeom prst="borderCallout3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Legende mit Linie 1 (Akzentuierungsbalken) 153"/>
          <p:cNvSpPr>
            <a:spLocks noChangeAspect="1"/>
          </p:cNvSpPr>
          <p:nvPr/>
        </p:nvSpPr>
        <p:spPr>
          <a:xfrm>
            <a:off x="9619789" y="4777075"/>
            <a:ext cx="289202" cy="193765"/>
          </a:xfrm>
          <a:prstGeom prst="accentCallout1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Legende mit Linie 3 (Akzentuierungsbalken) 154"/>
          <p:cNvSpPr>
            <a:spLocks noChangeAspect="1"/>
          </p:cNvSpPr>
          <p:nvPr/>
        </p:nvSpPr>
        <p:spPr>
          <a:xfrm>
            <a:off x="10088991" y="4777075"/>
            <a:ext cx="289201" cy="193765"/>
          </a:xfrm>
          <a:prstGeom prst="accentCallout3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Legende mit Linie 1 (ohne Rahmen) 155"/>
          <p:cNvSpPr>
            <a:spLocks noChangeAspect="1"/>
          </p:cNvSpPr>
          <p:nvPr/>
        </p:nvSpPr>
        <p:spPr>
          <a:xfrm>
            <a:off x="10558192" y="4777075"/>
            <a:ext cx="289201" cy="193765"/>
          </a:xfrm>
          <a:prstGeom prst="callout1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Legende mit Linie 2 (ohne Rahmen) 156"/>
          <p:cNvSpPr>
            <a:spLocks noChangeAspect="1"/>
          </p:cNvSpPr>
          <p:nvPr/>
        </p:nvSpPr>
        <p:spPr>
          <a:xfrm>
            <a:off x="11027393" y="4777075"/>
            <a:ext cx="289201" cy="193765"/>
          </a:xfrm>
          <a:prstGeom prst="callout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Legende mit Linie 3 (ohne Rahmen) 157"/>
          <p:cNvSpPr>
            <a:spLocks noChangeAspect="1"/>
          </p:cNvSpPr>
          <p:nvPr/>
        </p:nvSpPr>
        <p:spPr>
          <a:xfrm>
            <a:off x="6362956" y="5388796"/>
            <a:ext cx="309658" cy="207471"/>
          </a:xfrm>
          <a:prstGeom prst="callout3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Legende mit Linie 1 (Rahmen und Akzentuierungsbalken) 158"/>
          <p:cNvSpPr>
            <a:spLocks noChangeAspect="1"/>
          </p:cNvSpPr>
          <p:nvPr/>
        </p:nvSpPr>
        <p:spPr>
          <a:xfrm>
            <a:off x="6852614" y="5388796"/>
            <a:ext cx="309658" cy="207471"/>
          </a:xfrm>
          <a:prstGeom prst="accentBorderCallout1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Legende mit Linie 2 (Rahmen und Akzentuierungsbalken) 159"/>
          <p:cNvSpPr>
            <a:spLocks noChangeAspect="1"/>
          </p:cNvSpPr>
          <p:nvPr/>
        </p:nvSpPr>
        <p:spPr>
          <a:xfrm>
            <a:off x="7342272" y="5388796"/>
            <a:ext cx="309658" cy="207471"/>
          </a:xfrm>
          <a:prstGeom prst="accentBorderCallout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1" name="Legende mit Linie 3 (Rahmen und Akzentuierungsbalken) 160"/>
          <p:cNvSpPr>
            <a:spLocks noChangeAspect="1"/>
          </p:cNvSpPr>
          <p:nvPr/>
        </p:nvSpPr>
        <p:spPr>
          <a:xfrm>
            <a:off x="7831930" y="5388796"/>
            <a:ext cx="309658" cy="207471"/>
          </a:xfrm>
          <a:prstGeom prst="accentBorderCallout3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6704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3"/>
            </p:custDataLst>
          </p:nvPr>
        </p:nvSpPr>
        <p:spPr>
          <a:xfrm>
            <a:off x="3556000" y="3540760"/>
            <a:ext cx="5080000" cy="284480"/>
          </a:xfrm>
          <a:prstGeom prst="rect">
            <a:avLst/>
          </a:prstGeom>
          <a:solidFill>
            <a:srgbClr val="8FAAD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Folie" r:id="rId8" imgW="631" imgH="631" progId="TCLayout.ActiveDocument.1">
                  <p:embed/>
                </p:oleObj>
              </mc:Choice>
              <mc:Fallback>
                <p:oleObj name="think-cell Folie" r:id="rId8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7/21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2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6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Testsuite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b="1">
                <a:solidFill>
                  <a:srgbClr val="000000"/>
                </a:solidFill>
              </a:rPr>
              <a:t>Shapestypes 2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 3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Gradients</a:t>
            </a: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0250828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3683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cture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4573" y="3420292"/>
            <a:ext cx="975360" cy="975360"/>
          </a:xfrm>
          <a:prstGeom prst="rect">
            <a:avLst/>
          </a:prstGeom>
        </p:spPr>
      </p:pic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11529-3654-4A67-A2AD-66BEEB4BB311}" type="datetime1">
              <a:rPr lang="en-US" smtClean="0"/>
              <a:t>7/21/2020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3</a:t>
            </a:fld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026090" y="2311271"/>
            <a:ext cx="4261404" cy="2397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9222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633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1974430"/>
              </p:ext>
            </p:extLst>
          </p:nvPr>
        </p:nvGraphicFramePr>
        <p:xfrm>
          <a:off x="1851608" y="2287209"/>
          <a:ext cx="81280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61428243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044138073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67406629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72824868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88975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18000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8000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06353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8000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18000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43713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8407149"/>
                  </a:ext>
                </a:extLst>
              </a:tr>
            </a:tbl>
          </a:graphicData>
        </a:graphic>
      </p:graphicFrame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C1721-0C70-4121-8255-041FC08D13BE}" type="datetime1">
              <a:rPr lang="en-US" smtClean="0"/>
              <a:t>7/21/2020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01624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41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ps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510073" y="2351314"/>
            <a:ext cx="2090058" cy="2159037"/>
            <a:chOff x="510073" y="2351314"/>
            <a:chExt cx="3769568" cy="3893976"/>
          </a:xfrm>
        </p:grpSpPr>
        <p:sp>
          <p:nvSpPr>
            <p:cNvPr id="4" name="Rechteck 3"/>
            <p:cNvSpPr/>
            <p:nvPr/>
          </p:nvSpPr>
          <p:spPr>
            <a:xfrm>
              <a:off x="1356049" y="2351314"/>
              <a:ext cx="1691951" cy="1524000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bIns="108000"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Rechteck 4"/>
            <p:cNvSpPr/>
            <p:nvPr/>
          </p:nvSpPr>
          <p:spPr>
            <a:xfrm>
              <a:off x="2587690" y="4099249"/>
              <a:ext cx="1691951" cy="1524000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bIns="108000"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hteck 5"/>
            <p:cNvSpPr/>
            <p:nvPr/>
          </p:nvSpPr>
          <p:spPr>
            <a:xfrm>
              <a:off x="510073" y="4721290"/>
              <a:ext cx="1691951" cy="1524000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bIns="108000"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778301" y="2585991"/>
            <a:ext cx="1113428" cy="1468949"/>
            <a:chOff x="5029822" y="2941320"/>
            <a:chExt cx="2194560" cy="2895289"/>
          </a:xfrm>
        </p:grpSpPr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8320" y="2941320"/>
              <a:ext cx="975360" cy="975360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49022" y="4373569"/>
              <a:ext cx="975360" cy="975360"/>
            </a:xfrm>
            <a:prstGeom prst="rect">
              <a:avLst/>
            </a:prstGeom>
          </p:spPr>
        </p:pic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29822" y="4861249"/>
              <a:ext cx="975360" cy="975360"/>
            </a:xfrm>
            <a:prstGeom prst="rect">
              <a:avLst/>
            </a:prstGeom>
          </p:spPr>
        </p:pic>
      </p:grpSp>
      <p:grpSp>
        <p:nvGrpSpPr>
          <p:cNvPr id="14" name="Gruppieren 13"/>
          <p:cNvGrpSpPr/>
          <p:nvPr/>
        </p:nvGrpSpPr>
        <p:grpSpPr>
          <a:xfrm>
            <a:off x="6207967" y="2233128"/>
            <a:ext cx="1065083" cy="1854728"/>
            <a:chOff x="8341567" y="2177143"/>
            <a:chExt cx="1822580" cy="3173827"/>
          </a:xfrm>
        </p:grpSpPr>
        <p:sp>
          <p:nvSpPr>
            <p:cNvPr id="12" name="Rechteck 11"/>
            <p:cNvSpPr/>
            <p:nvPr/>
          </p:nvSpPr>
          <p:spPr>
            <a:xfrm>
              <a:off x="8341567" y="2177143"/>
              <a:ext cx="1822580" cy="125185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lang="en-US" dirty="0"/>
            </a:p>
          </p:txBody>
        </p:sp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62486" y="4375610"/>
              <a:ext cx="975360" cy="975360"/>
            </a:xfrm>
            <a:prstGeom prst="rect">
              <a:avLst/>
            </a:prstGeom>
          </p:spPr>
        </p:pic>
      </p:grpSp>
      <p:grpSp>
        <p:nvGrpSpPr>
          <p:cNvPr id="19" name="Gruppieren 18"/>
          <p:cNvGrpSpPr/>
          <p:nvPr/>
        </p:nvGrpSpPr>
        <p:grpSpPr>
          <a:xfrm>
            <a:off x="8349181" y="4650648"/>
            <a:ext cx="2862068" cy="1848468"/>
            <a:chOff x="8349181" y="4650648"/>
            <a:chExt cx="2862068" cy="1848468"/>
          </a:xfrm>
        </p:grpSpPr>
        <p:graphicFrame>
          <p:nvGraphicFramePr>
            <p:cNvPr id="17" name="Diagramm 16"/>
            <p:cNvGraphicFramePr/>
            <p:nvPr>
              <p:extLst>
                <p:ext uri="{D42A27DB-BD31-4B8C-83A1-F6EECF244321}">
                  <p14:modId xmlns:p14="http://schemas.microsoft.com/office/powerpoint/2010/main" val="799561328"/>
                </p:ext>
              </p:extLst>
            </p:nvPr>
          </p:nvGraphicFramePr>
          <p:xfrm>
            <a:off x="8349181" y="4650648"/>
            <a:ext cx="2862068" cy="184846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18" name="Rechteck 17"/>
            <p:cNvSpPr/>
            <p:nvPr/>
          </p:nvSpPr>
          <p:spPr>
            <a:xfrm>
              <a:off x="8397551" y="4758612"/>
              <a:ext cx="628261" cy="64070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2327667" y="4758612"/>
            <a:ext cx="4268514" cy="1972877"/>
            <a:chOff x="2327667" y="4758612"/>
            <a:chExt cx="4268514" cy="1972877"/>
          </a:xfrm>
        </p:grpSpPr>
        <p:graphicFrame>
          <p:nvGraphicFramePr>
            <p:cNvPr id="20" name="Diagramm 19"/>
            <p:cNvGraphicFramePr/>
            <p:nvPr>
              <p:extLst>
                <p:ext uri="{D42A27DB-BD31-4B8C-83A1-F6EECF244321}">
                  <p14:modId xmlns:p14="http://schemas.microsoft.com/office/powerpoint/2010/main" val="2402546435"/>
                </p:ext>
              </p:extLst>
            </p:nvPr>
          </p:nvGraphicFramePr>
          <p:xfrm>
            <a:off x="2327667" y="4758612"/>
            <a:ext cx="3983135" cy="197287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9" r:lo="rId10" r:qs="rId11" r:cs="rId12"/>
            </a:graphicData>
          </a:graphic>
        </p:graphicFrame>
        <p:sp>
          <p:nvSpPr>
            <p:cNvPr id="21" name="Rechteck 20"/>
            <p:cNvSpPr/>
            <p:nvPr/>
          </p:nvSpPr>
          <p:spPr>
            <a:xfrm>
              <a:off x="5196589" y="4950243"/>
              <a:ext cx="1399592" cy="54859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3" name="Datumsplatzhalter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5A0DB2-E4EC-4ECA-BF1E-13928BA91C1E}" type="datetime1">
              <a:rPr lang="en-US" smtClean="0"/>
              <a:t>7/21/2020</a:t>
            </a:fld>
            <a:endParaRPr lang="en-US" dirty="0"/>
          </a:p>
        </p:txBody>
      </p:sp>
      <p:sp>
        <p:nvSpPr>
          <p:cNvPr id="24" name="Fußzeilenplatzhalter 2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25" name="Foliennummernplatzhalter 2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6415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3"/>
            </p:custDataLst>
          </p:nvPr>
        </p:nvSpPr>
        <p:spPr>
          <a:xfrm>
            <a:off x="3556000" y="3982720"/>
            <a:ext cx="5080000" cy="284480"/>
          </a:xfrm>
          <a:prstGeom prst="rect">
            <a:avLst/>
          </a:prstGeom>
          <a:solidFill>
            <a:srgbClr val="8FAAD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Folie" r:id="rId8" imgW="631" imgH="631" progId="TCLayout.ActiveDocument.1">
                  <p:embed/>
                </p:oleObj>
              </mc:Choice>
              <mc:Fallback>
                <p:oleObj name="think-cell Folie" r:id="rId8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7/21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6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6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Testsuite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stypes 2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b="1">
                <a:solidFill>
                  <a:srgbClr val="000000"/>
                </a:solidFill>
              </a:rPr>
              <a:t>Shapetypes 3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Gradients</a:t>
            </a: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7123520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6187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- Table</a:t>
            </a:r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90699651"/>
              </p:ext>
            </p:extLst>
          </p:nvPr>
        </p:nvGraphicFramePr>
        <p:xfrm>
          <a:off x="838200" y="1825625"/>
          <a:ext cx="10515600" cy="100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3486705039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729677462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748523754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907288030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7074950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252000" marB="18000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252000" marB="18000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63791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252000" marB="18000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252000" marB="18000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8572367"/>
                  </a:ext>
                </a:extLst>
              </a:tr>
            </a:tbl>
          </a:graphicData>
        </a:graphic>
      </p:graphicFrame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39F82-C8B2-4430-ADB5-DCC3FC9E3AF4}" type="datetime1">
              <a:rPr lang="en-US" smtClean="0"/>
              <a:t>7/21/2020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18471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5975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- Picture</a:t>
            </a: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8320" y="3513614"/>
            <a:ext cx="975360" cy="975360"/>
          </a:xfrm>
        </p:spPr>
      </p:pic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86C47-CAF2-4D5E-A754-C754B93A9936}" type="datetime1">
              <a:rPr lang="en-US" smtClean="0"/>
              <a:t>7/21/2020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7523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3"/>
            </p:custDataLst>
          </p:nvPr>
        </p:nvSpPr>
        <p:spPr>
          <a:xfrm>
            <a:off x="3556000" y="4424680"/>
            <a:ext cx="5080000" cy="284480"/>
          </a:xfrm>
          <a:prstGeom prst="rect">
            <a:avLst/>
          </a:prstGeom>
          <a:solidFill>
            <a:srgbClr val="8FAAD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think-cell Folie" r:id="rId8" imgW="631" imgH="631" progId="TCLayout.ActiveDocument.1">
                  <p:embed/>
                </p:oleObj>
              </mc:Choice>
              <mc:Fallback>
                <p:oleObj name="think-cell Folie" r:id="rId8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7/21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9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6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Testsuite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stypes 2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 3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b="1">
                <a:solidFill>
                  <a:srgbClr val="000000"/>
                </a:solidFill>
              </a:rPr>
              <a:t>Gradients</a:t>
            </a:r>
            <a:endParaRPr lang="en-US" sz="1400" b="1" dirty="0">
              <a:solidFill>
                <a:srgbClr val="000000"/>
              </a:solidFill>
            </a:endParaRP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3647721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3"/>
            </p:custDataLst>
          </p:nvPr>
        </p:nvSpPr>
        <p:spPr>
          <a:xfrm>
            <a:off x="3556000" y="2656840"/>
            <a:ext cx="5080000" cy="284480"/>
          </a:xfrm>
          <a:prstGeom prst="rect">
            <a:avLst/>
          </a:prstGeom>
          <a:solidFill>
            <a:srgbClr val="8FAAD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Folie" r:id="rId8" imgW="631" imgH="631" progId="TCLayout.ActiveDocument.1">
                  <p:embed/>
                </p:oleObj>
              </mc:Choice>
              <mc:Fallback>
                <p:oleObj name="think-cell Folie" r:id="rId8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7/21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2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6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b="1">
                <a:solidFill>
                  <a:srgbClr val="000000"/>
                </a:solidFill>
              </a:rPr>
              <a:t>Testsuite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stypes 2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 3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Gradients</a:t>
            </a: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4414590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5857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1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8610600" y="1455576"/>
            <a:ext cx="889519" cy="4845697"/>
          </a:xfrm>
          <a:prstGeom prst="rect">
            <a:avLst/>
          </a:prstGeom>
          <a:solidFill>
            <a:schemeClr val="tx2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5747657" y="1455576"/>
            <a:ext cx="889519" cy="4845697"/>
          </a:xfrm>
          <a:prstGeom prst="rect">
            <a:avLst/>
          </a:prstGeom>
          <a:solidFill>
            <a:schemeClr val="tx2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29193"/>
          </a:xfrm>
        </p:spPr>
        <p:txBody>
          <a:bodyPr>
            <a:normAutofit/>
          </a:bodyPr>
          <a:lstStyle/>
          <a:p>
            <a:r>
              <a:rPr lang="en-US" sz="1100" dirty="0"/>
              <a:t>[(</a:t>
            </a:r>
            <a:r>
              <a:rPr lang="en-US" sz="1100" dirty="0" err="1"/>
              <a:t>s.fill.GradientColorType</a:t>
            </a:r>
            <a:r>
              <a:rPr lang="en-US" sz="1100" dirty="0"/>
              <a:t>, </a:t>
            </a:r>
            <a:r>
              <a:rPr lang="en-US" sz="1100" dirty="0" err="1"/>
              <a:t>s.fill.GradientStyle</a:t>
            </a:r>
            <a:r>
              <a:rPr lang="en-US" sz="1100" dirty="0"/>
              <a:t>, </a:t>
            </a:r>
            <a:r>
              <a:rPr lang="en-US" sz="1100" dirty="0" err="1"/>
              <a:t>s.fill.GradientVariant</a:t>
            </a:r>
            <a:r>
              <a:rPr lang="en-US" sz="1100" dirty="0"/>
              <a:t>, </a:t>
            </a:r>
            <a:r>
              <a:rPr lang="en-US" sz="1100" dirty="0" err="1"/>
              <a:t>s.fill.PresetGradientType</a:t>
            </a:r>
            <a:r>
              <a:rPr lang="en-US" sz="1100" dirty="0"/>
              <a:t>, </a:t>
            </a:r>
            <a:r>
              <a:rPr lang="en-US" sz="1100" dirty="0" err="1"/>
              <a:t>s.fill.GradientAngle</a:t>
            </a:r>
            <a:r>
              <a:rPr lang="en-US" sz="1100" dirty="0"/>
              <a:t>) for s in </a:t>
            </a:r>
            <a:r>
              <a:rPr lang="en-US" sz="1100" dirty="0" err="1"/>
              <a:t>context.shapes</a:t>
            </a:r>
            <a:r>
              <a:rPr lang="en-US" sz="1100" dirty="0"/>
              <a:t>]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8DD609-9492-45C6-B115-851EE4D74A27}" type="datetime1">
              <a:rPr lang="en-US" smtClean="0"/>
              <a:t>7/21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20</a:t>
            </a:fld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4372947" y="1693637"/>
            <a:ext cx="1894821" cy="597159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100000">
                <a:srgbClr val="FF0000"/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4372947" y="2326796"/>
            <a:ext cx="1894821" cy="59715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100000">
                <a:srgbClr val="FF0000">
                  <a:alpha val="17000"/>
                </a:srgb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4372947" y="2959955"/>
            <a:ext cx="1894821" cy="597159"/>
          </a:xfrm>
          <a:prstGeom prst="rect">
            <a:avLst/>
          </a:prstGeom>
          <a:gradFill flip="none" rotWithShape="1">
            <a:gsLst>
              <a:gs pos="17000">
                <a:schemeClr val="tx2"/>
              </a:gs>
              <a:gs pos="42000">
                <a:schemeClr val="accent1">
                  <a:lumMod val="60000"/>
                  <a:lumOff val="40000"/>
                </a:schemeClr>
              </a:gs>
            </a:gsLst>
            <a:lin ang="48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4372947" y="3593114"/>
            <a:ext cx="1894821" cy="597159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7010399" y="1693637"/>
            <a:ext cx="2152969" cy="597159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100000">
                <a:srgbClr val="FF0000"/>
              </a:gs>
            </a:gsLst>
            <a:lin ang="540000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7010399" y="2326796"/>
            <a:ext cx="2152969" cy="59715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100000">
                <a:srgbClr val="FF0000">
                  <a:alpha val="17000"/>
                </a:srgbClr>
              </a:gs>
            </a:gsLst>
            <a:lin ang="540000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10399" y="2959955"/>
            <a:ext cx="2152969" cy="597159"/>
          </a:xfrm>
          <a:prstGeom prst="rect">
            <a:avLst/>
          </a:prstGeom>
          <a:gradFill flip="none" rotWithShape="1">
            <a:gsLst>
              <a:gs pos="17000">
                <a:schemeClr val="tx2">
                  <a:lumMod val="100000"/>
                </a:schemeClr>
              </a:gs>
              <a:gs pos="42000">
                <a:schemeClr val="accent1">
                  <a:lumMod val="60000"/>
                  <a:lumOff val="40000"/>
                </a:schemeClr>
              </a:gs>
            </a:gsLst>
            <a:lin ang="480000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7010399" y="3593114"/>
            <a:ext cx="2152969" cy="597159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270000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4372947" y="4226273"/>
            <a:ext cx="1894821" cy="597159"/>
          </a:xfrm>
          <a:prstGeom prst="rect">
            <a:avLst/>
          </a:prstGeom>
          <a:gradFill flip="none" rotWithShape="1">
            <a:gsLst>
              <a:gs pos="75000">
                <a:schemeClr val="accent4">
                  <a:lumMod val="67000"/>
                  <a:lumOff val="33000"/>
                </a:schemeClr>
              </a:gs>
              <a:gs pos="67000">
                <a:srgbClr val="00B050"/>
              </a:gs>
              <a:gs pos="26000">
                <a:schemeClr val="accent5"/>
              </a:gs>
              <a:gs pos="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600000" scaled="0"/>
            <a:tileRect/>
          </a:gradFill>
          <a:ln w="12700" cap="flat" cmpd="sng" algn="ctr">
            <a:solidFill>
              <a:srgbClr val="41719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7010399" y="4226273"/>
            <a:ext cx="2152969" cy="597159"/>
          </a:xfrm>
          <a:prstGeom prst="rect">
            <a:avLst/>
          </a:prstGeom>
          <a:gradFill flip="none" rotWithShape="1">
            <a:gsLst>
              <a:gs pos="75000">
                <a:schemeClr val="accent4">
                  <a:lumMod val="67000"/>
                  <a:lumOff val="33000"/>
                </a:schemeClr>
              </a:gs>
              <a:gs pos="67000">
                <a:srgbClr val="00B050"/>
              </a:gs>
              <a:gs pos="26000">
                <a:schemeClr val="accent5">
                  <a:lumMod val="100000"/>
                </a:schemeClr>
              </a:gs>
              <a:gs pos="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600000" scaled="1"/>
            <a:tileRect/>
          </a:gradFill>
          <a:ln w="12700" cap="flat" cmpd="sng" algn="ctr">
            <a:solidFill>
              <a:srgbClr val="41719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4372947" y="4859432"/>
            <a:ext cx="1894821" cy="597159"/>
          </a:xfrm>
          <a:prstGeom prst="rect">
            <a:avLst/>
          </a:prstGeom>
          <a:gradFill flip="none" rotWithShape="1"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 22"/>
          <p:cNvSpPr/>
          <p:nvPr/>
        </p:nvSpPr>
        <p:spPr>
          <a:xfrm>
            <a:off x="4372947" y="5492591"/>
            <a:ext cx="1894821" cy="597159"/>
          </a:xfrm>
          <a:prstGeom prst="rect">
            <a:avLst/>
          </a:prstGeom>
          <a:gradFill flip="none" rotWithShape="1"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12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 23"/>
          <p:cNvSpPr/>
          <p:nvPr/>
        </p:nvSpPr>
        <p:spPr>
          <a:xfrm>
            <a:off x="7010399" y="4859432"/>
            <a:ext cx="2152969" cy="597159"/>
          </a:xfrm>
          <a:prstGeom prst="rect">
            <a:avLst/>
          </a:prstGeom>
          <a:gradFill flip="none" rotWithShape="1"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7010399" y="5492591"/>
            <a:ext cx="2152969" cy="597159"/>
          </a:xfrm>
          <a:prstGeom prst="rect">
            <a:avLst/>
          </a:prstGeom>
          <a:gradFill flip="none" rotWithShape="1"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120000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096347" y="1535400"/>
            <a:ext cx="1665514" cy="44676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60000"/>
              </a:lnSpc>
              <a:spcAft>
                <a:spcPts val="600"/>
              </a:spcAft>
            </a:pPr>
            <a:r>
              <a:rPr lang="en-US" sz="1600" dirty="0"/>
              <a:t>[(2, 1, 1, -2, 90.0), (2, 1, 1, -2, 90.0), (2, -2, 0, -2, 80.0), (1, 3, 1, -2, 45.0), (4, -2, 0, -2, 10.0), (3, 2, 1, 1, 0.0), (3, -2, 0, 1, 20.0)]</a:t>
            </a:r>
          </a:p>
        </p:txBody>
      </p:sp>
      <p:sp>
        <p:nvSpPr>
          <p:cNvPr id="33" name="Rechteck 32"/>
          <p:cNvSpPr/>
          <p:nvPr/>
        </p:nvSpPr>
        <p:spPr>
          <a:xfrm>
            <a:off x="10028853" y="1535400"/>
            <a:ext cx="1665514" cy="44676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60000"/>
              </a:lnSpc>
              <a:spcAft>
                <a:spcPts val="600"/>
              </a:spcAft>
            </a:pPr>
            <a:r>
              <a:rPr lang="en-US" sz="1600" dirty="0"/>
              <a:t>[(2, 1, 1, -2, 90.0), (2, 1, 1, -2, 90.0), (2, 1, 1, -2, 90.0), (1, 3, 1, -2, 45.0), (4, -2, 0, -2, 10.0), (3, 2, 1, 1, 0.0), (3, -2, 0, 1, 20.0)]</a:t>
            </a:r>
          </a:p>
        </p:txBody>
      </p:sp>
    </p:spTree>
    <p:extLst>
      <p:ext uri="{BB962C8B-B14F-4D97-AF65-F5344CB8AC3E}">
        <p14:creationId xmlns:p14="http://schemas.microsoft.com/office/powerpoint/2010/main" val="39119425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7/21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21</a:t>
            </a:fld>
            <a:endParaRPr lang="en-US"/>
          </a:p>
        </p:txBody>
      </p:sp>
      <p:pic>
        <p:nvPicPr>
          <p:cNvPr id="8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44044" y="2063750"/>
            <a:ext cx="5937955" cy="3340099"/>
          </a:xfrm>
          <a:prstGeom prst="rect">
            <a:avLst/>
          </a:prstGeom>
          <a:ln>
            <a:solidFill>
              <a:schemeClr val="tx1">
                <a:lumMod val="10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9345852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426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7/21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22</a:t>
            </a:fld>
            <a:endParaRPr lang="en-US"/>
          </a:p>
        </p:txBody>
      </p:sp>
      <p:sp>
        <p:nvSpPr>
          <p:cNvPr id="7" name="Rechteck 6"/>
          <p:cNvSpPr>
            <a:spLocks noChangeAspect="1"/>
          </p:cNvSpPr>
          <p:nvPr/>
        </p:nvSpPr>
        <p:spPr>
          <a:xfrm>
            <a:off x="360000" y="360000"/>
            <a:ext cx="720000" cy="72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 noChangeAspect="1"/>
          </p:cNvSpPr>
          <p:nvPr/>
        </p:nvSpPr>
        <p:spPr>
          <a:xfrm>
            <a:off x="1440000" y="360000"/>
            <a:ext cx="720000" cy="72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 noChangeAspect="1"/>
          </p:cNvSpPr>
          <p:nvPr/>
        </p:nvSpPr>
        <p:spPr>
          <a:xfrm>
            <a:off x="360000" y="1440000"/>
            <a:ext cx="720000" cy="72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>
            <a:off x="1440000" y="1440000"/>
            <a:ext cx="720000" cy="72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 noChangeAspect="1"/>
          </p:cNvSpPr>
          <p:nvPr/>
        </p:nvSpPr>
        <p:spPr>
          <a:xfrm>
            <a:off x="360000" y="2520000"/>
            <a:ext cx="720000" cy="72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 noChangeAspect="1"/>
          </p:cNvSpPr>
          <p:nvPr/>
        </p:nvSpPr>
        <p:spPr>
          <a:xfrm>
            <a:off x="1440000" y="2520000"/>
            <a:ext cx="720000" cy="72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4038600" y="550175"/>
            <a:ext cx="792000" cy="720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2958600" y="1486175"/>
            <a:ext cx="792000" cy="720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>
            <a:spLocks/>
          </p:cNvSpPr>
          <p:nvPr/>
        </p:nvSpPr>
        <p:spPr>
          <a:xfrm>
            <a:off x="4038600" y="1486175"/>
            <a:ext cx="792000" cy="720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>
            <a:spLocks/>
          </p:cNvSpPr>
          <p:nvPr/>
        </p:nvSpPr>
        <p:spPr>
          <a:xfrm>
            <a:off x="2958600" y="2422175"/>
            <a:ext cx="792000" cy="720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>
            <a:spLocks/>
          </p:cNvSpPr>
          <p:nvPr/>
        </p:nvSpPr>
        <p:spPr>
          <a:xfrm>
            <a:off x="4038600" y="2422175"/>
            <a:ext cx="792000" cy="720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295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458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ing shape sele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7/21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3</a:t>
            </a:fld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3752461" y="3340358"/>
            <a:ext cx="1399592" cy="348343"/>
          </a:xfrm>
          <a:prstGeom prst="rect">
            <a:avLst/>
          </a:prstGeom>
          <a:solidFill>
            <a:schemeClr val="accent6">
              <a:lumMod val="100000"/>
            </a:schemeClr>
          </a:solidFill>
          <a:ln>
            <a:solidFill>
              <a:schemeClr val="accent2">
                <a:lumMod val="10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</p:txBody>
      </p:sp>
      <p:sp>
        <p:nvSpPr>
          <p:cNvPr id="7" name="Ellipse 6"/>
          <p:cNvSpPr/>
          <p:nvPr/>
        </p:nvSpPr>
        <p:spPr>
          <a:xfrm>
            <a:off x="4293636" y="4080587"/>
            <a:ext cx="709126" cy="348343"/>
          </a:xfrm>
          <a:prstGeom prst="ellipse">
            <a:avLst/>
          </a:prstGeom>
          <a:solidFill>
            <a:schemeClr val="accent2"/>
          </a:solidFill>
          <a:ln>
            <a:solidFill>
              <a:schemeClr val="tx1">
                <a:lumMod val="10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C</a:t>
            </a:r>
          </a:p>
        </p:txBody>
      </p:sp>
      <p:sp>
        <p:nvSpPr>
          <p:cNvPr id="8" name="Rechteck 7"/>
          <p:cNvSpPr/>
          <p:nvPr/>
        </p:nvSpPr>
        <p:spPr>
          <a:xfrm>
            <a:off x="2141376" y="3048000"/>
            <a:ext cx="1897224" cy="1772817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2520821" y="3309257"/>
            <a:ext cx="709126" cy="3483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A</a:t>
            </a:r>
          </a:p>
        </p:txBody>
      </p:sp>
      <p:sp>
        <p:nvSpPr>
          <p:cNvPr id="10" name="Rechteck 9"/>
          <p:cNvSpPr/>
          <p:nvPr/>
        </p:nvSpPr>
        <p:spPr>
          <a:xfrm>
            <a:off x="2614127" y="4211216"/>
            <a:ext cx="709126" cy="348343"/>
          </a:xfrm>
          <a:prstGeom prst="rect">
            <a:avLst/>
          </a:prstGeom>
          <a:solidFill>
            <a:schemeClr val="accent2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</p:txBody>
      </p:sp>
      <p:sp>
        <p:nvSpPr>
          <p:cNvPr id="13" name="linkshape1"/>
          <p:cNvSpPr/>
          <p:nvPr/>
        </p:nvSpPr>
        <p:spPr>
          <a:xfrm>
            <a:off x="7582677" y="296700"/>
            <a:ext cx="1747935" cy="530614"/>
          </a:xfrm>
          <a:prstGeom prst="plaque">
            <a:avLst>
              <a:gd name="adj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 be linked shape</a:t>
            </a:r>
          </a:p>
        </p:txBody>
      </p:sp>
    </p:spTree>
    <p:extLst>
      <p:ext uri="{BB962C8B-B14F-4D97-AF65-F5344CB8AC3E}">
        <p14:creationId xmlns:p14="http://schemas.microsoft.com/office/powerpoint/2010/main" val="13940838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17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ing alignments and stacking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7/21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4</a:t>
            </a:fld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933061" y="2233126"/>
            <a:ext cx="1455576" cy="5287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9" name="Rechteck 8"/>
          <p:cNvSpPr/>
          <p:nvPr/>
        </p:nvSpPr>
        <p:spPr>
          <a:xfrm>
            <a:off x="1598645" y="3265861"/>
            <a:ext cx="665584" cy="10498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0" name="Rechteck 9"/>
          <p:cNvSpPr/>
          <p:nvPr/>
        </p:nvSpPr>
        <p:spPr>
          <a:xfrm>
            <a:off x="1295400" y="4819716"/>
            <a:ext cx="2186474" cy="6322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1" name="Rechteck 10"/>
          <p:cNvSpPr/>
          <p:nvPr/>
        </p:nvSpPr>
        <p:spPr>
          <a:xfrm>
            <a:off x="5808306" y="2342453"/>
            <a:ext cx="1455576" cy="5287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2" name="Rechteck 11"/>
          <p:cNvSpPr/>
          <p:nvPr/>
        </p:nvSpPr>
        <p:spPr>
          <a:xfrm>
            <a:off x="4744616" y="2977178"/>
            <a:ext cx="665584" cy="10498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3" name="Rechteck 12"/>
          <p:cNvSpPr/>
          <p:nvPr/>
        </p:nvSpPr>
        <p:spPr>
          <a:xfrm>
            <a:off x="5649686" y="4519790"/>
            <a:ext cx="2186474" cy="6322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4" name="Rechteck 13"/>
          <p:cNvSpPr/>
          <p:nvPr/>
        </p:nvSpPr>
        <p:spPr>
          <a:xfrm>
            <a:off x="8563947" y="2139494"/>
            <a:ext cx="1455576" cy="5287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5" name="Rechteck 14"/>
          <p:cNvSpPr/>
          <p:nvPr/>
        </p:nvSpPr>
        <p:spPr>
          <a:xfrm>
            <a:off x="9559213" y="2385623"/>
            <a:ext cx="665584" cy="10498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6" name="Rechteck 15"/>
          <p:cNvSpPr/>
          <p:nvPr/>
        </p:nvSpPr>
        <p:spPr>
          <a:xfrm>
            <a:off x="9817359" y="3248447"/>
            <a:ext cx="2186474" cy="6322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7" name="linkshape1"/>
          <p:cNvSpPr/>
          <p:nvPr/>
        </p:nvSpPr>
        <p:spPr>
          <a:xfrm>
            <a:off x="8563947" y="365125"/>
            <a:ext cx="1253412" cy="530614"/>
          </a:xfrm>
          <a:prstGeom prst="plaque">
            <a:avLst/>
          </a:prstGeom>
          <a:solidFill>
            <a:schemeClr val="accent4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inked shap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2880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6439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962123" y="1928326"/>
            <a:ext cx="2500604" cy="9759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7962123" y="2915025"/>
            <a:ext cx="2500604" cy="9759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7962123" y="3605348"/>
            <a:ext cx="2500604" cy="9759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7962123" y="4477618"/>
            <a:ext cx="2500604" cy="9759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in and out of shap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7/21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5</a:t>
            </a:fld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908180" y="1928326"/>
            <a:ext cx="2500604" cy="37198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r>
              <a:rPr lang="en-US" sz="1000"/>
              <a:t>Lorem ipsum dolor sit amet, consetetur sadipscing elitr, sed diam nonumy eirmod tempor invidunt ut labore et dolore magna aliquyam erat, sed diam voluptua.</a:t>
            </a:r>
          </a:p>
          <a:p>
            <a:pPr algn="ctr">
              <a:spcAft>
                <a:spcPts val="1200"/>
              </a:spcAft>
            </a:pPr>
            <a:r>
              <a:rPr lang="en-US" sz="1000"/>
              <a:t>At vero eos et accusam et justo duo dolores et ea rebum. Stet clita kasd gubergren, no sea takimata sanctus est Lorem ipsum dolor sit amet.</a:t>
            </a:r>
          </a:p>
          <a:p>
            <a:pPr algn="ctr">
              <a:spcAft>
                <a:spcPts val="1200"/>
              </a:spcAft>
            </a:pPr>
            <a:r>
              <a:rPr lang="en-US" sz="1000"/>
              <a:t>Lorem ipsum dolor sit amet, consetetur sadipscing elitr, sed diam nonumy eirmod tempor invidunt ut labore et dolore magna aliquyam erat, sed diam voluptua.</a:t>
            </a:r>
          </a:p>
          <a:p>
            <a:pPr algn="ctr">
              <a:spcAft>
                <a:spcPts val="1200"/>
              </a:spcAft>
            </a:pPr>
            <a:r>
              <a:rPr lang="en-US" sz="1000"/>
              <a:t>At vero eos et accusam et justo duo dolores et ea rebum. Stet clita kasd gubergren, no sea takimata sanctus est Lorem ipsum dolor sit amet.</a:t>
            </a:r>
          </a:p>
          <a:p>
            <a:pPr algn="ctr">
              <a:spcAft>
                <a:spcPts val="1200"/>
              </a:spcAft>
            </a:pPr>
            <a:endParaRPr lang="en-US" sz="1000"/>
          </a:p>
        </p:txBody>
      </p:sp>
      <p:sp>
        <p:nvSpPr>
          <p:cNvPr id="9" name="Rechteck 8"/>
          <p:cNvSpPr/>
          <p:nvPr/>
        </p:nvSpPr>
        <p:spPr>
          <a:xfrm>
            <a:off x="4771054" y="1928326"/>
            <a:ext cx="2500604" cy="37198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10" name="Textfeld 9"/>
          <p:cNvSpPr txBox="1"/>
          <p:nvPr/>
        </p:nvSpPr>
        <p:spPr>
          <a:xfrm>
            <a:off x="4851918" y="2133600"/>
            <a:ext cx="2338876" cy="330925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 algn="ctr">
              <a:spcAft>
                <a:spcPts val="1200"/>
              </a:spcAft>
            </a:pPr>
            <a:r>
              <a:rPr lang="en-US" sz="1000" dirty="0">
                <a:solidFill>
                  <a:prstClr val="white"/>
                </a:solidFill>
              </a:rPr>
              <a:t>Lorem 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consetetu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dipscing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litr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nonum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irmo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tempo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invidun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u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labore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dolore</a:t>
            </a:r>
            <a:r>
              <a:rPr lang="en-US" sz="1000" dirty="0">
                <a:solidFill>
                  <a:prstClr val="white"/>
                </a:solidFill>
              </a:rPr>
              <a:t> magna </a:t>
            </a:r>
            <a:r>
              <a:rPr lang="en-US" sz="1000" dirty="0" err="1">
                <a:solidFill>
                  <a:prstClr val="white"/>
                </a:solidFill>
              </a:rPr>
              <a:t>aliquy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ra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voluptua</a:t>
            </a:r>
            <a:r>
              <a:rPr lang="en-US" sz="1000" dirty="0">
                <a:solidFill>
                  <a:prstClr val="white"/>
                </a:solidFill>
              </a:rPr>
              <a:t>.</a:t>
            </a:r>
          </a:p>
          <a:p>
            <a:pPr lvl="0" algn="ctr">
              <a:spcAft>
                <a:spcPts val="1200"/>
              </a:spcAft>
            </a:pPr>
            <a:r>
              <a:rPr lang="en-US" sz="1000" dirty="0">
                <a:solidFill>
                  <a:prstClr val="white"/>
                </a:solidFill>
              </a:rPr>
              <a:t>At </a:t>
            </a:r>
            <a:r>
              <a:rPr lang="en-US" sz="1000" dirty="0" err="1">
                <a:solidFill>
                  <a:prstClr val="white"/>
                </a:solidFill>
              </a:rPr>
              <a:t>vero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o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accusam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justo</a:t>
            </a:r>
            <a:r>
              <a:rPr lang="en-US" sz="1000" dirty="0">
                <a:solidFill>
                  <a:prstClr val="white"/>
                </a:solidFill>
              </a:rPr>
              <a:t> duo </a:t>
            </a:r>
            <a:r>
              <a:rPr lang="en-US" sz="1000" dirty="0" err="1">
                <a:solidFill>
                  <a:prstClr val="white"/>
                </a:solidFill>
              </a:rPr>
              <a:t>dolore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e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rebum</a:t>
            </a:r>
            <a:r>
              <a:rPr lang="en-US" sz="1000" dirty="0">
                <a:solidFill>
                  <a:prstClr val="white"/>
                </a:solidFill>
              </a:rPr>
              <a:t>. Stet </a:t>
            </a:r>
            <a:r>
              <a:rPr lang="en-US" sz="1000" dirty="0" err="1">
                <a:solidFill>
                  <a:prstClr val="white"/>
                </a:solidFill>
              </a:rPr>
              <a:t>cli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kas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gubergren</a:t>
            </a:r>
            <a:r>
              <a:rPr lang="en-US" sz="1000" dirty="0">
                <a:solidFill>
                  <a:prstClr val="white"/>
                </a:solidFill>
              </a:rPr>
              <a:t>, no sea </a:t>
            </a:r>
            <a:r>
              <a:rPr lang="en-US" sz="1000" dirty="0" err="1">
                <a:solidFill>
                  <a:prstClr val="white"/>
                </a:solidFill>
              </a:rPr>
              <a:t>takima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nctus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st</a:t>
            </a:r>
            <a:r>
              <a:rPr lang="en-US" sz="1000" dirty="0">
                <a:solidFill>
                  <a:prstClr val="white"/>
                </a:solidFill>
              </a:rPr>
              <a:t> Lorem 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.</a:t>
            </a:r>
          </a:p>
          <a:p>
            <a:pPr lvl="0" algn="ctr">
              <a:spcAft>
                <a:spcPts val="1200"/>
              </a:spcAft>
            </a:pPr>
            <a:r>
              <a:rPr lang="en-US" sz="1000" dirty="0">
                <a:solidFill>
                  <a:prstClr val="white"/>
                </a:solidFill>
              </a:rPr>
              <a:t>Lorem 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consetetu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dipscing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litr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nonum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irmo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tempo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invidun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u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labore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dolore</a:t>
            </a:r>
            <a:r>
              <a:rPr lang="en-US" sz="1000" dirty="0">
                <a:solidFill>
                  <a:prstClr val="white"/>
                </a:solidFill>
              </a:rPr>
              <a:t> magna </a:t>
            </a:r>
            <a:r>
              <a:rPr lang="en-US" sz="1000" dirty="0" err="1">
                <a:solidFill>
                  <a:prstClr val="white"/>
                </a:solidFill>
              </a:rPr>
              <a:t>aliquy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ra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voluptua</a:t>
            </a:r>
            <a:r>
              <a:rPr lang="en-US" sz="1000" dirty="0">
                <a:solidFill>
                  <a:prstClr val="white"/>
                </a:solidFill>
              </a:rPr>
              <a:t>.</a:t>
            </a:r>
          </a:p>
          <a:p>
            <a:pPr lvl="0" algn="ctr">
              <a:spcAft>
                <a:spcPts val="1200"/>
              </a:spcAft>
            </a:pPr>
            <a:r>
              <a:rPr lang="en-US" sz="1000" dirty="0">
                <a:solidFill>
                  <a:prstClr val="white"/>
                </a:solidFill>
              </a:rPr>
              <a:t>At </a:t>
            </a:r>
            <a:r>
              <a:rPr lang="en-US" sz="1000" dirty="0" err="1">
                <a:solidFill>
                  <a:prstClr val="white"/>
                </a:solidFill>
              </a:rPr>
              <a:t>vero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o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accusam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justo</a:t>
            </a:r>
            <a:r>
              <a:rPr lang="en-US" sz="1000" dirty="0">
                <a:solidFill>
                  <a:prstClr val="white"/>
                </a:solidFill>
              </a:rPr>
              <a:t> duo </a:t>
            </a:r>
            <a:r>
              <a:rPr lang="en-US" sz="1000" dirty="0" err="1">
                <a:solidFill>
                  <a:prstClr val="white"/>
                </a:solidFill>
              </a:rPr>
              <a:t>dolore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e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rebum</a:t>
            </a:r>
            <a:r>
              <a:rPr lang="en-US" sz="1000" dirty="0">
                <a:solidFill>
                  <a:prstClr val="white"/>
                </a:solidFill>
              </a:rPr>
              <a:t>. Stet </a:t>
            </a:r>
            <a:r>
              <a:rPr lang="en-US" sz="1000" dirty="0" err="1">
                <a:solidFill>
                  <a:prstClr val="white"/>
                </a:solidFill>
              </a:rPr>
              <a:t>cli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kas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gubergren</a:t>
            </a:r>
            <a:r>
              <a:rPr lang="en-US" sz="1000" dirty="0">
                <a:solidFill>
                  <a:prstClr val="white"/>
                </a:solidFill>
              </a:rPr>
              <a:t>, no sea </a:t>
            </a:r>
            <a:r>
              <a:rPr lang="en-US" sz="1000" dirty="0" err="1">
                <a:solidFill>
                  <a:prstClr val="white"/>
                </a:solidFill>
              </a:rPr>
              <a:t>takima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nctus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st</a:t>
            </a:r>
            <a:r>
              <a:rPr lang="en-US" sz="1000" dirty="0">
                <a:solidFill>
                  <a:prstClr val="white"/>
                </a:solidFill>
              </a:rPr>
              <a:t> Lorem 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.</a:t>
            </a:r>
          </a:p>
          <a:p>
            <a:pPr lvl="0" algn="ctr">
              <a:spcAft>
                <a:spcPts val="1200"/>
              </a:spcAft>
            </a:pP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8042987" y="2133600"/>
            <a:ext cx="2338876" cy="70104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 algn="ctr">
              <a:spcAft>
                <a:spcPts val="1200"/>
              </a:spcAft>
            </a:pPr>
            <a:r>
              <a:rPr lang="en-US" sz="1000" dirty="0">
                <a:solidFill>
                  <a:prstClr val="white"/>
                </a:solidFill>
              </a:rPr>
              <a:t>Lorem 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consetetu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dipscing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litr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nonum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irmo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tempo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invidun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u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labore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dolore</a:t>
            </a:r>
            <a:r>
              <a:rPr lang="en-US" sz="1000" dirty="0">
                <a:solidFill>
                  <a:prstClr val="white"/>
                </a:solidFill>
              </a:rPr>
              <a:t> magna </a:t>
            </a:r>
            <a:r>
              <a:rPr lang="en-US" sz="1000" dirty="0" err="1">
                <a:solidFill>
                  <a:prstClr val="white"/>
                </a:solidFill>
              </a:rPr>
              <a:t>aliquy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ra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voluptua</a:t>
            </a:r>
            <a:r>
              <a:rPr lang="en-US" sz="1000" dirty="0">
                <a:solidFill>
                  <a:prstClr val="white"/>
                </a:solidFill>
              </a:rPr>
              <a:t>.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8042987" y="2904308"/>
            <a:ext cx="2338876" cy="70104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 algn="ctr">
              <a:spcAft>
                <a:spcPts val="1200"/>
              </a:spcAft>
            </a:pPr>
            <a:r>
              <a:rPr lang="en-US" sz="1000">
                <a:solidFill>
                  <a:prstClr val="white"/>
                </a:solidFill>
              </a:rPr>
              <a:t>At </a:t>
            </a:r>
            <a:r>
              <a:rPr lang="en-US" sz="1000" dirty="0" err="1">
                <a:solidFill>
                  <a:prstClr val="white"/>
                </a:solidFill>
              </a:rPr>
              <a:t>vero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o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accusam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justo</a:t>
            </a:r>
            <a:r>
              <a:rPr lang="en-US" sz="1000" dirty="0">
                <a:solidFill>
                  <a:prstClr val="white"/>
                </a:solidFill>
              </a:rPr>
              <a:t> duo </a:t>
            </a:r>
            <a:r>
              <a:rPr lang="en-US" sz="1000" dirty="0" err="1">
                <a:solidFill>
                  <a:prstClr val="white"/>
                </a:solidFill>
              </a:rPr>
              <a:t>dolore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e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rebum</a:t>
            </a:r>
            <a:r>
              <a:rPr lang="en-US" sz="1000" dirty="0">
                <a:solidFill>
                  <a:prstClr val="white"/>
                </a:solidFill>
              </a:rPr>
              <a:t>. Stet </a:t>
            </a:r>
            <a:r>
              <a:rPr lang="en-US" sz="1000" dirty="0" err="1">
                <a:solidFill>
                  <a:prstClr val="white"/>
                </a:solidFill>
              </a:rPr>
              <a:t>cli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kas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gubergren</a:t>
            </a:r>
            <a:r>
              <a:rPr lang="en-US" sz="1000" dirty="0">
                <a:solidFill>
                  <a:prstClr val="white"/>
                </a:solidFill>
              </a:rPr>
              <a:t>, no sea </a:t>
            </a:r>
            <a:r>
              <a:rPr lang="en-US" sz="1000" dirty="0" err="1">
                <a:solidFill>
                  <a:prstClr val="white"/>
                </a:solidFill>
              </a:rPr>
              <a:t>takima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nctus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st</a:t>
            </a:r>
            <a:r>
              <a:rPr lang="en-US" sz="1000" dirty="0">
                <a:solidFill>
                  <a:prstClr val="white"/>
                </a:solidFill>
              </a:rPr>
              <a:t> Lorem ipsum dolor sit </a:t>
            </a:r>
            <a:r>
              <a:rPr lang="en-US" sz="1000" err="1">
                <a:solidFill>
                  <a:prstClr val="white"/>
                </a:solidFill>
              </a:rPr>
              <a:t>amet</a:t>
            </a:r>
            <a:r>
              <a:rPr lang="en-US" sz="1000">
                <a:solidFill>
                  <a:prstClr val="white"/>
                </a:solidFill>
              </a:rPr>
              <a:t>.</a:t>
            </a: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8042987" y="3666308"/>
            <a:ext cx="2338876" cy="70104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 algn="ctr">
              <a:spcAft>
                <a:spcPts val="1200"/>
              </a:spcAft>
            </a:pPr>
            <a:r>
              <a:rPr lang="en-US" sz="1000">
                <a:solidFill>
                  <a:prstClr val="white"/>
                </a:solidFill>
              </a:rPr>
              <a:t>Lorem </a:t>
            </a:r>
            <a:r>
              <a:rPr lang="en-US" sz="1000" dirty="0">
                <a:solidFill>
                  <a:prstClr val="white"/>
                </a:solidFill>
              </a:rPr>
              <a:t>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consetetu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dipscing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litr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nonum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irmo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tempo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invidun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u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labore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dolore</a:t>
            </a:r>
            <a:r>
              <a:rPr lang="en-US" sz="1000" dirty="0">
                <a:solidFill>
                  <a:prstClr val="white"/>
                </a:solidFill>
              </a:rPr>
              <a:t> magna </a:t>
            </a:r>
            <a:r>
              <a:rPr lang="en-US" sz="1000" dirty="0" err="1">
                <a:solidFill>
                  <a:prstClr val="white"/>
                </a:solidFill>
              </a:rPr>
              <a:t>aliquy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ra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err="1">
                <a:solidFill>
                  <a:prstClr val="white"/>
                </a:solidFill>
              </a:rPr>
              <a:t>voluptua</a:t>
            </a:r>
            <a:r>
              <a:rPr lang="en-US" sz="1000">
                <a:solidFill>
                  <a:prstClr val="white"/>
                </a:solidFill>
              </a:rPr>
              <a:t>.</a:t>
            </a: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8042987" y="4428308"/>
            <a:ext cx="2338876" cy="85344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 algn="ctr">
              <a:spcAft>
                <a:spcPts val="1200"/>
              </a:spcAft>
            </a:pPr>
            <a:r>
              <a:rPr lang="en-US" sz="1000">
                <a:solidFill>
                  <a:prstClr val="white"/>
                </a:solidFill>
              </a:rPr>
              <a:t>At </a:t>
            </a:r>
            <a:r>
              <a:rPr lang="en-US" sz="1000" dirty="0" err="1">
                <a:solidFill>
                  <a:prstClr val="white"/>
                </a:solidFill>
              </a:rPr>
              <a:t>vero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o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accusam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justo</a:t>
            </a:r>
            <a:r>
              <a:rPr lang="en-US" sz="1000" dirty="0">
                <a:solidFill>
                  <a:prstClr val="white"/>
                </a:solidFill>
              </a:rPr>
              <a:t> duo </a:t>
            </a:r>
            <a:r>
              <a:rPr lang="en-US" sz="1000" dirty="0" err="1">
                <a:solidFill>
                  <a:prstClr val="white"/>
                </a:solidFill>
              </a:rPr>
              <a:t>dolore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e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rebum</a:t>
            </a:r>
            <a:r>
              <a:rPr lang="en-US" sz="1000" dirty="0">
                <a:solidFill>
                  <a:prstClr val="white"/>
                </a:solidFill>
              </a:rPr>
              <a:t>. Stet </a:t>
            </a:r>
            <a:r>
              <a:rPr lang="en-US" sz="1000" dirty="0" err="1">
                <a:solidFill>
                  <a:prstClr val="white"/>
                </a:solidFill>
              </a:rPr>
              <a:t>cli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kas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gubergren</a:t>
            </a:r>
            <a:r>
              <a:rPr lang="en-US" sz="1000" dirty="0">
                <a:solidFill>
                  <a:prstClr val="white"/>
                </a:solidFill>
              </a:rPr>
              <a:t>, no sea </a:t>
            </a:r>
            <a:r>
              <a:rPr lang="en-US" sz="1000" dirty="0" err="1">
                <a:solidFill>
                  <a:prstClr val="white"/>
                </a:solidFill>
              </a:rPr>
              <a:t>takima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nctus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st</a:t>
            </a:r>
            <a:r>
              <a:rPr lang="en-US" sz="1000" dirty="0">
                <a:solidFill>
                  <a:prstClr val="white"/>
                </a:solidFill>
              </a:rPr>
              <a:t> Lorem ipsum dolor sit </a:t>
            </a:r>
            <a:r>
              <a:rPr lang="en-US" sz="1000" err="1">
                <a:solidFill>
                  <a:prstClr val="white"/>
                </a:solidFill>
              </a:rPr>
              <a:t>amet</a:t>
            </a:r>
            <a:r>
              <a:rPr lang="en-US" sz="1000">
                <a:solidFill>
                  <a:prstClr val="white"/>
                </a:solidFill>
              </a:rPr>
              <a:t>.</a:t>
            </a: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22" name="linkshape1"/>
          <p:cNvSpPr/>
          <p:nvPr/>
        </p:nvSpPr>
        <p:spPr>
          <a:xfrm>
            <a:off x="8870301" y="537556"/>
            <a:ext cx="1747935" cy="530614"/>
          </a:xfrm>
          <a:prstGeom prst="plaque">
            <a:avLst/>
          </a:prstGeom>
          <a:solidFill>
            <a:schemeClr val="accent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inked shap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1796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3"/>
            </p:custDataLst>
          </p:nvPr>
        </p:nvSpPr>
        <p:spPr>
          <a:xfrm>
            <a:off x="3556000" y="3098800"/>
            <a:ext cx="5080000" cy="284480"/>
          </a:xfrm>
          <a:prstGeom prst="rect">
            <a:avLst/>
          </a:prstGeom>
          <a:solidFill>
            <a:srgbClr val="8FAAD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Folie" r:id="rId8" imgW="631" imgH="631" progId="TCLayout.ActiveDocument.1">
                  <p:embed/>
                </p:oleObj>
              </mc:Choice>
              <mc:Fallback>
                <p:oleObj name="think-cell Folie" r:id="rId8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7/21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6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6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Testsuite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b="1">
                <a:solidFill>
                  <a:srgbClr val="000000"/>
                </a:solidFill>
              </a:rPr>
              <a:t>Shapetypes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stypes 2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 3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Gradients</a:t>
            </a: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3046981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585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hapes</a:t>
            </a:r>
          </a:p>
        </p:txBody>
      </p:sp>
      <p:sp>
        <p:nvSpPr>
          <p:cNvPr id="6" name="Rechteck 5"/>
          <p:cNvSpPr/>
          <p:nvPr/>
        </p:nvSpPr>
        <p:spPr>
          <a:xfrm>
            <a:off x="671803" y="2447730"/>
            <a:ext cx="1517780" cy="12316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8" name="Gerade Verbindung mit Pfeil 7"/>
          <p:cNvCxnSpPr/>
          <p:nvPr/>
        </p:nvCxnSpPr>
        <p:spPr>
          <a:xfrm>
            <a:off x="3582955" y="2735423"/>
            <a:ext cx="1536441" cy="11258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ihandform 8"/>
          <p:cNvSpPr/>
          <p:nvPr/>
        </p:nvSpPr>
        <p:spPr>
          <a:xfrm>
            <a:off x="1038808" y="4522238"/>
            <a:ext cx="2544147" cy="1374710"/>
          </a:xfrm>
          <a:custGeom>
            <a:avLst/>
            <a:gdLst>
              <a:gd name="connsiteX0" fmla="*/ 1399592 w 2544147"/>
              <a:gd name="connsiteY0" fmla="*/ 0 h 1374710"/>
              <a:gd name="connsiteX1" fmla="*/ 2544147 w 2544147"/>
              <a:gd name="connsiteY1" fmla="*/ 1374710 h 1374710"/>
              <a:gd name="connsiteX2" fmla="*/ 609600 w 2544147"/>
              <a:gd name="connsiteY2" fmla="*/ 926840 h 1374710"/>
              <a:gd name="connsiteX3" fmla="*/ 1082351 w 2544147"/>
              <a:gd name="connsiteY3" fmla="*/ 385665 h 1374710"/>
              <a:gd name="connsiteX4" fmla="*/ 0 w 2544147"/>
              <a:gd name="connsiteY4" fmla="*/ 286138 h 1374710"/>
              <a:gd name="connsiteX5" fmla="*/ 1399592 w 2544147"/>
              <a:gd name="connsiteY5" fmla="*/ 0 h 1374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44147" h="1374710">
                <a:moveTo>
                  <a:pt x="1399592" y="0"/>
                </a:moveTo>
                <a:lnTo>
                  <a:pt x="2544147" y="1374710"/>
                </a:lnTo>
                <a:lnTo>
                  <a:pt x="609600" y="926840"/>
                </a:lnTo>
                <a:lnTo>
                  <a:pt x="1082351" y="385665"/>
                </a:lnTo>
                <a:lnTo>
                  <a:pt x="0" y="286138"/>
                </a:lnTo>
                <a:lnTo>
                  <a:pt x="1399592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Pfeil nach rechts 10"/>
          <p:cNvSpPr/>
          <p:nvPr/>
        </p:nvSpPr>
        <p:spPr>
          <a:xfrm>
            <a:off x="6096000" y="2611015"/>
            <a:ext cx="1604865" cy="68735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reihandform 11"/>
          <p:cNvSpPr/>
          <p:nvPr/>
        </p:nvSpPr>
        <p:spPr>
          <a:xfrm>
            <a:off x="4351175" y="4343105"/>
            <a:ext cx="2855736" cy="1859902"/>
          </a:xfrm>
          <a:custGeom>
            <a:avLst/>
            <a:gdLst>
              <a:gd name="connsiteX0" fmla="*/ 566626 w 2855736"/>
              <a:gd name="connsiteY0" fmla="*/ 696685 h 1859902"/>
              <a:gd name="connsiteX1" fmla="*/ 1530789 w 2855736"/>
              <a:gd name="connsiteY1" fmla="*/ 379445 h 1859902"/>
              <a:gd name="connsiteX2" fmla="*/ 1680079 w 2855736"/>
              <a:gd name="connsiteY2" fmla="*/ 404326 h 1859902"/>
              <a:gd name="connsiteX3" fmla="*/ 1729842 w 2855736"/>
              <a:gd name="connsiteY3" fmla="*/ 429208 h 1859902"/>
              <a:gd name="connsiteX4" fmla="*/ 1754724 w 2855736"/>
              <a:gd name="connsiteY4" fmla="*/ 441649 h 1859902"/>
              <a:gd name="connsiteX5" fmla="*/ 1792046 w 2855736"/>
              <a:gd name="connsiteY5" fmla="*/ 466530 h 1859902"/>
              <a:gd name="connsiteX6" fmla="*/ 1816928 w 2855736"/>
              <a:gd name="connsiteY6" fmla="*/ 478971 h 1859902"/>
              <a:gd name="connsiteX7" fmla="*/ 1848030 w 2855736"/>
              <a:gd name="connsiteY7" fmla="*/ 503853 h 1859902"/>
              <a:gd name="connsiteX8" fmla="*/ 1872911 w 2855736"/>
              <a:gd name="connsiteY8" fmla="*/ 516294 h 1859902"/>
              <a:gd name="connsiteX9" fmla="*/ 1891573 w 2855736"/>
              <a:gd name="connsiteY9" fmla="*/ 534955 h 1859902"/>
              <a:gd name="connsiteX10" fmla="*/ 1916454 w 2855736"/>
              <a:gd name="connsiteY10" fmla="*/ 553616 h 1859902"/>
              <a:gd name="connsiteX11" fmla="*/ 1959997 w 2855736"/>
              <a:gd name="connsiteY11" fmla="*/ 640702 h 1859902"/>
              <a:gd name="connsiteX12" fmla="*/ 1984879 w 2855736"/>
              <a:gd name="connsiteY12" fmla="*/ 678024 h 1859902"/>
              <a:gd name="connsiteX13" fmla="*/ 1997320 w 2855736"/>
              <a:gd name="connsiteY13" fmla="*/ 727787 h 1859902"/>
              <a:gd name="connsiteX14" fmla="*/ 2009760 w 2855736"/>
              <a:gd name="connsiteY14" fmla="*/ 771330 h 1859902"/>
              <a:gd name="connsiteX15" fmla="*/ 1997320 w 2855736"/>
              <a:gd name="connsiteY15" fmla="*/ 920620 h 1859902"/>
              <a:gd name="connsiteX16" fmla="*/ 1928895 w 2855736"/>
              <a:gd name="connsiteY16" fmla="*/ 1057469 h 1859902"/>
              <a:gd name="connsiteX17" fmla="*/ 1897793 w 2855736"/>
              <a:gd name="connsiteY17" fmla="*/ 1094791 h 1859902"/>
              <a:gd name="connsiteX18" fmla="*/ 1879132 w 2855736"/>
              <a:gd name="connsiteY18" fmla="*/ 1132114 h 1859902"/>
              <a:gd name="connsiteX19" fmla="*/ 1798266 w 2855736"/>
              <a:gd name="connsiteY19" fmla="*/ 1200538 h 1859902"/>
              <a:gd name="connsiteX20" fmla="*/ 1773385 w 2855736"/>
              <a:gd name="connsiteY20" fmla="*/ 1219200 h 1859902"/>
              <a:gd name="connsiteX21" fmla="*/ 1760944 w 2855736"/>
              <a:gd name="connsiteY21" fmla="*/ 1237861 h 1859902"/>
              <a:gd name="connsiteX22" fmla="*/ 1742283 w 2855736"/>
              <a:gd name="connsiteY22" fmla="*/ 1244081 h 1859902"/>
              <a:gd name="connsiteX23" fmla="*/ 1692520 w 2855736"/>
              <a:gd name="connsiteY23" fmla="*/ 1250302 h 1859902"/>
              <a:gd name="connsiteX24" fmla="*/ 1319295 w 2855736"/>
              <a:gd name="connsiteY24" fmla="*/ 1244081 h 1859902"/>
              <a:gd name="connsiteX25" fmla="*/ 1213548 w 2855736"/>
              <a:gd name="connsiteY25" fmla="*/ 1225420 h 1859902"/>
              <a:gd name="connsiteX26" fmla="*/ 1026936 w 2855736"/>
              <a:gd name="connsiteY26" fmla="*/ 1219200 h 1859902"/>
              <a:gd name="connsiteX27" fmla="*/ 796781 w 2855736"/>
              <a:gd name="connsiteY27" fmla="*/ 1194318 h 1859902"/>
              <a:gd name="connsiteX28" fmla="*/ 734577 w 2855736"/>
              <a:gd name="connsiteY28" fmla="*/ 1181877 h 1859902"/>
              <a:gd name="connsiteX29" fmla="*/ 672373 w 2855736"/>
              <a:gd name="connsiteY29" fmla="*/ 1175657 h 1859902"/>
              <a:gd name="connsiteX30" fmla="*/ 603948 w 2855736"/>
              <a:gd name="connsiteY30" fmla="*/ 1156996 h 1859902"/>
              <a:gd name="connsiteX31" fmla="*/ 547964 w 2855736"/>
              <a:gd name="connsiteY31" fmla="*/ 1144555 h 1859902"/>
              <a:gd name="connsiteX32" fmla="*/ 261826 w 2855736"/>
              <a:gd name="connsiteY32" fmla="*/ 957942 h 1859902"/>
              <a:gd name="connsiteX33" fmla="*/ 137417 w 2855736"/>
              <a:gd name="connsiteY33" fmla="*/ 845975 h 1859902"/>
              <a:gd name="connsiteX34" fmla="*/ 62773 w 2855736"/>
              <a:gd name="connsiteY34" fmla="*/ 789991 h 1859902"/>
              <a:gd name="connsiteX35" fmla="*/ 13009 w 2855736"/>
              <a:gd name="connsiteY35" fmla="*/ 758889 h 1859902"/>
              <a:gd name="connsiteX36" fmla="*/ 569 w 2855736"/>
              <a:gd name="connsiteY36" fmla="*/ 789991 h 1859902"/>
              <a:gd name="connsiteX37" fmla="*/ 100095 w 2855736"/>
              <a:gd name="connsiteY37" fmla="*/ 970383 h 1859902"/>
              <a:gd name="connsiteX38" fmla="*/ 162299 w 2855736"/>
              <a:gd name="connsiteY38" fmla="*/ 1038808 h 1859902"/>
              <a:gd name="connsiteX39" fmla="*/ 292928 w 2855736"/>
              <a:gd name="connsiteY39" fmla="*/ 1231640 h 1859902"/>
              <a:gd name="connsiteX40" fmla="*/ 380013 w 2855736"/>
              <a:gd name="connsiteY40" fmla="*/ 1356049 h 1859902"/>
              <a:gd name="connsiteX41" fmla="*/ 429777 w 2855736"/>
              <a:gd name="connsiteY41" fmla="*/ 1436914 h 1859902"/>
              <a:gd name="connsiteX42" fmla="*/ 479540 w 2855736"/>
              <a:gd name="connsiteY42" fmla="*/ 1480457 h 1859902"/>
              <a:gd name="connsiteX43" fmla="*/ 510642 w 2855736"/>
              <a:gd name="connsiteY43" fmla="*/ 1530220 h 1859902"/>
              <a:gd name="connsiteX44" fmla="*/ 541744 w 2855736"/>
              <a:gd name="connsiteY44" fmla="*/ 1555102 h 1859902"/>
              <a:gd name="connsiteX45" fmla="*/ 566626 w 2855736"/>
              <a:gd name="connsiteY45" fmla="*/ 1586204 h 1859902"/>
              <a:gd name="connsiteX46" fmla="*/ 579066 w 2855736"/>
              <a:gd name="connsiteY46" fmla="*/ 1611085 h 1859902"/>
              <a:gd name="connsiteX47" fmla="*/ 610169 w 2855736"/>
              <a:gd name="connsiteY47" fmla="*/ 1629747 h 1859902"/>
              <a:gd name="connsiteX48" fmla="*/ 635050 w 2855736"/>
              <a:gd name="connsiteY48" fmla="*/ 1654628 h 1859902"/>
              <a:gd name="connsiteX49" fmla="*/ 790560 w 2855736"/>
              <a:gd name="connsiteY49" fmla="*/ 1729273 h 1859902"/>
              <a:gd name="connsiteX50" fmla="*/ 1082920 w 2855736"/>
              <a:gd name="connsiteY50" fmla="*/ 1810138 h 1859902"/>
              <a:gd name="connsiteX51" fmla="*/ 1412601 w 2855736"/>
              <a:gd name="connsiteY51" fmla="*/ 1853681 h 1859902"/>
              <a:gd name="connsiteX52" fmla="*/ 1505907 w 2855736"/>
              <a:gd name="connsiteY52" fmla="*/ 1859902 h 1859902"/>
              <a:gd name="connsiteX53" fmla="*/ 1680079 w 2855736"/>
              <a:gd name="connsiteY53" fmla="*/ 1853681 h 1859902"/>
              <a:gd name="connsiteX54" fmla="*/ 1773385 w 2855736"/>
              <a:gd name="connsiteY54" fmla="*/ 1835020 h 1859902"/>
              <a:gd name="connsiteX55" fmla="*/ 1866691 w 2855736"/>
              <a:gd name="connsiteY55" fmla="*/ 1810138 h 1859902"/>
              <a:gd name="connsiteX56" fmla="*/ 2040862 w 2855736"/>
              <a:gd name="connsiteY56" fmla="*/ 1723053 h 1859902"/>
              <a:gd name="connsiteX57" fmla="*/ 2121728 w 2855736"/>
              <a:gd name="connsiteY57" fmla="*/ 1660849 h 1859902"/>
              <a:gd name="connsiteX58" fmla="*/ 2252356 w 2855736"/>
              <a:gd name="connsiteY58" fmla="*/ 1492898 h 1859902"/>
              <a:gd name="connsiteX59" fmla="*/ 2351883 w 2855736"/>
              <a:gd name="connsiteY59" fmla="*/ 1281404 h 1859902"/>
              <a:gd name="connsiteX60" fmla="*/ 2389205 w 2855736"/>
              <a:gd name="connsiteY60" fmla="*/ 1013926 h 1859902"/>
              <a:gd name="connsiteX61" fmla="*/ 2376764 w 2855736"/>
              <a:gd name="connsiteY61" fmla="*/ 715347 h 1859902"/>
              <a:gd name="connsiteX62" fmla="*/ 2351883 w 2855736"/>
              <a:gd name="connsiteY62" fmla="*/ 628261 h 1859902"/>
              <a:gd name="connsiteX63" fmla="*/ 2271017 w 2855736"/>
              <a:gd name="connsiteY63" fmla="*/ 429208 h 1859902"/>
              <a:gd name="connsiteX64" fmla="*/ 2177711 w 2855736"/>
              <a:gd name="connsiteY64" fmla="*/ 273698 h 1859902"/>
              <a:gd name="connsiteX65" fmla="*/ 2140389 w 2855736"/>
              <a:gd name="connsiteY65" fmla="*/ 223934 h 1859902"/>
              <a:gd name="connsiteX66" fmla="*/ 2071964 w 2855736"/>
              <a:gd name="connsiteY66" fmla="*/ 174171 h 1859902"/>
              <a:gd name="connsiteX67" fmla="*/ 1742283 w 2855736"/>
              <a:gd name="connsiteY67" fmla="*/ 74645 h 1859902"/>
              <a:gd name="connsiteX68" fmla="*/ 1599213 w 2855736"/>
              <a:gd name="connsiteY68" fmla="*/ 80865 h 1859902"/>
              <a:gd name="connsiteX69" fmla="*/ 1449924 w 2855736"/>
              <a:gd name="connsiteY69" fmla="*/ 118187 h 1859902"/>
              <a:gd name="connsiteX70" fmla="*/ 1400160 w 2855736"/>
              <a:gd name="connsiteY70" fmla="*/ 130628 h 1859902"/>
              <a:gd name="connsiteX71" fmla="*/ 1356617 w 2855736"/>
              <a:gd name="connsiteY71" fmla="*/ 155510 h 1859902"/>
              <a:gd name="connsiteX72" fmla="*/ 1306854 w 2855736"/>
              <a:gd name="connsiteY72" fmla="*/ 180391 h 1859902"/>
              <a:gd name="connsiteX73" fmla="*/ 1425042 w 2855736"/>
              <a:gd name="connsiteY73" fmla="*/ 192832 h 1859902"/>
              <a:gd name="connsiteX74" fmla="*/ 1549450 w 2855736"/>
              <a:gd name="connsiteY74" fmla="*/ 180391 h 1859902"/>
              <a:gd name="connsiteX75" fmla="*/ 1704960 w 2855736"/>
              <a:gd name="connsiteY75" fmla="*/ 143069 h 1859902"/>
              <a:gd name="connsiteX76" fmla="*/ 1841809 w 2855736"/>
              <a:gd name="connsiteY76" fmla="*/ 130628 h 1859902"/>
              <a:gd name="connsiteX77" fmla="*/ 1916454 w 2855736"/>
              <a:gd name="connsiteY77" fmla="*/ 111967 h 1859902"/>
              <a:gd name="connsiteX78" fmla="*/ 1984879 w 2855736"/>
              <a:gd name="connsiteY78" fmla="*/ 105747 h 1859902"/>
              <a:gd name="connsiteX79" fmla="*/ 2109287 w 2855736"/>
              <a:gd name="connsiteY79" fmla="*/ 80865 h 1859902"/>
              <a:gd name="connsiteX80" fmla="*/ 2177711 w 2855736"/>
              <a:gd name="connsiteY80" fmla="*/ 62204 h 1859902"/>
              <a:gd name="connsiteX81" fmla="*/ 2345662 w 2855736"/>
              <a:gd name="connsiteY81" fmla="*/ 31102 h 1859902"/>
              <a:gd name="connsiteX82" fmla="*/ 2389205 w 2855736"/>
              <a:gd name="connsiteY82" fmla="*/ 18661 h 1859902"/>
              <a:gd name="connsiteX83" fmla="*/ 2476291 w 2855736"/>
              <a:gd name="connsiteY83" fmla="*/ 0 h 1859902"/>
              <a:gd name="connsiteX84" fmla="*/ 2687785 w 2855736"/>
              <a:gd name="connsiteY84" fmla="*/ 24881 h 1859902"/>
              <a:gd name="connsiteX85" fmla="*/ 2725107 w 2855736"/>
              <a:gd name="connsiteY85" fmla="*/ 55983 h 1859902"/>
              <a:gd name="connsiteX86" fmla="*/ 2762430 w 2855736"/>
              <a:gd name="connsiteY86" fmla="*/ 80865 h 1859902"/>
              <a:gd name="connsiteX87" fmla="*/ 2781091 w 2855736"/>
              <a:gd name="connsiteY87" fmla="*/ 99526 h 1859902"/>
              <a:gd name="connsiteX88" fmla="*/ 2818413 w 2855736"/>
              <a:gd name="connsiteY88" fmla="*/ 124408 h 1859902"/>
              <a:gd name="connsiteX89" fmla="*/ 2855736 w 2855736"/>
              <a:gd name="connsiteY89" fmla="*/ 180391 h 1859902"/>
              <a:gd name="connsiteX90" fmla="*/ 2843295 w 2855736"/>
              <a:gd name="connsiteY90" fmla="*/ 342122 h 1859902"/>
              <a:gd name="connsiteX91" fmla="*/ 2837075 w 2855736"/>
              <a:gd name="connsiteY91" fmla="*/ 373224 h 1859902"/>
              <a:gd name="connsiteX92" fmla="*/ 2805973 w 2855736"/>
              <a:gd name="connsiteY92" fmla="*/ 454089 h 1859902"/>
              <a:gd name="connsiteX93" fmla="*/ 2781091 w 2855736"/>
              <a:gd name="connsiteY93" fmla="*/ 528734 h 1859902"/>
              <a:gd name="connsiteX94" fmla="*/ 2774871 w 2855736"/>
              <a:gd name="connsiteY94" fmla="*/ 572277 h 1859902"/>
              <a:gd name="connsiteX95" fmla="*/ 2768650 w 2855736"/>
              <a:gd name="connsiteY95" fmla="*/ 590938 h 1859902"/>
              <a:gd name="connsiteX96" fmla="*/ 2762430 w 2855736"/>
              <a:gd name="connsiteY96" fmla="*/ 622040 h 1859902"/>
              <a:gd name="connsiteX97" fmla="*/ 2756209 w 2855736"/>
              <a:gd name="connsiteY97" fmla="*/ 640702 h 1859902"/>
              <a:gd name="connsiteX98" fmla="*/ 2756209 w 2855736"/>
              <a:gd name="connsiteY98" fmla="*/ 696685 h 18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2855736" h="1859902">
                <a:moveTo>
                  <a:pt x="566626" y="696685"/>
                </a:moveTo>
                <a:cubicBezTo>
                  <a:pt x="1057800" y="522936"/>
                  <a:pt x="1182913" y="325089"/>
                  <a:pt x="1530789" y="379445"/>
                </a:cubicBezTo>
                <a:cubicBezTo>
                  <a:pt x="1580634" y="387233"/>
                  <a:pt x="1630316" y="396032"/>
                  <a:pt x="1680079" y="404326"/>
                </a:cubicBezTo>
                <a:lnTo>
                  <a:pt x="1729842" y="429208"/>
                </a:lnTo>
                <a:cubicBezTo>
                  <a:pt x="1738136" y="433355"/>
                  <a:pt x="1747008" y="436505"/>
                  <a:pt x="1754724" y="441649"/>
                </a:cubicBezTo>
                <a:cubicBezTo>
                  <a:pt x="1767165" y="449943"/>
                  <a:pt x="1779225" y="458837"/>
                  <a:pt x="1792046" y="466530"/>
                </a:cubicBezTo>
                <a:cubicBezTo>
                  <a:pt x="1799998" y="471301"/>
                  <a:pt x="1809212" y="473827"/>
                  <a:pt x="1816928" y="478971"/>
                </a:cubicBezTo>
                <a:cubicBezTo>
                  <a:pt x="1827975" y="486336"/>
                  <a:pt x="1836983" y="496488"/>
                  <a:pt x="1848030" y="503853"/>
                </a:cubicBezTo>
                <a:cubicBezTo>
                  <a:pt x="1855745" y="508997"/>
                  <a:pt x="1865366" y="510904"/>
                  <a:pt x="1872911" y="516294"/>
                </a:cubicBezTo>
                <a:cubicBezTo>
                  <a:pt x="1880070" y="521407"/>
                  <a:pt x="1884894" y="529230"/>
                  <a:pt x="1891573" y="534955"/>
                </a:cubicBezTo>
                <a:cubicBezTo>
                  <a:pt x="1899444" y="541702"/>
                  <a:pt x="1909566" y="545868"/>
                  <a:pt x="1916454" y="553616"/>
                </a:cubicBezTo>
                <a:cubicBezTo>
                  <a:pt x="1951666" y="593230"/>
                  <a:pt x="1935490" y="591688"/>
                  <a:pt x="1959997" y="640702"/>
                </a:cubicBezTo>
                <a:cubicBezTo>
                  <a:pt x="1966684" y="654075"/>
                  <a:pt x="1976585" y="665583"/>
                  <a:pt x="1984879" y="678024"/>
                </a:cubicBezTo>
                <a:cubicBezTo>
                  <a:pt x="1989026" y="694612"/>
                  <a:pt x="1992915" y="711266"/>
                  <a:pt x="1997320" y="727787"/>
                </a:cubicBezTo>
                <a:cubicBezTo>
                  <a:pt x="2001209" y="742372"/>
                  <a:pt x="2009042" y="756252"/>
                  <a:pt x="2009760" y="771330"/>
                </a:cubicBezTo>
                <a:cubicBezTo>
                  <a:pt x="2009884" y="773942"/>
                  <a:pt x="2000830" y="904825"/>
                  <a:pt x="1997320" y="920620"/>
                </a:cubicBezTo>
                <a:cubicBezTo>
                  <a:pt x="1988980" y="958149"/>
                  <a:pt x="1945811" y="1037170"/>
                  <a:pt x="1928895" y="1057469"/>
                </a:cubicBezTo>
                <a:cubicBezTo>
                  <a:pt x="1918528" y="1069910"/>
                  <a:pt x="1906776" y="1081317"/>
                  <a:pt x="1897793" y="1094791"/>
                </a:cubicBezTo>
                <a:cubicBezTo>
                  <a:pt x="1890077" y="1106364"/>
                  <a:pt x="1887313" y="1120865"/>
                  <a:pt x="1879132" y="1132114"/>
                </a:cubicBezTo>
                <a:cubicBezTo>
                  <a:pt x="1860826" y="1157286"/>
                  <a:pt x="1820929" y="1183541"/>
                  <a:pt x="1798266" y="1200538"/>
                </a:cubicBezTo>
                <a:cubicBezTo>
                  <a:pt x="1789972" y="1206758"/>
                  <a:pt x="1779136" y="1210574"/>
                  <a:pt x="1773385" y="1219200"/>
                </a:cubicBezTo>
                <a:cubicBezTo>
                  <a:pt x="1769238" y="1225420"/>
                  <a:pt x="1766782" y="1233191"/>
                  <a:pt x="1760944" y="1237861"/>
                </a:cubicBezTo>
                <a:cubicBezTo>
                  <a:pt x="1755824" y="1241957"/>
                  <a:pt x="1748734" y="1242908"/>
                  <a:pt x="1742283" y="1244081"/>
                </a:cubicBezTo>
                <a:cubicBezTo>
                  <a:pt x="1725836" y="1247071"/>
                  <a:pt x="1709108" y="1248228"/>
                  <a:pt x="1692520" y="1250302"/>
                </a:cubicBezTo>
                <a:cubicBezTo>
                  <a:pt x="1568112" y="1248228"/>
                  <a:pt x="1443553" y="1250536"/>
                  <a:pt x="1319295" y="1244081"/>
                </a:cubicBezTo>
                <a:cubicBezTo>
                  <a:pt x="1283550" y="1242224"/>
                  <a:pt x="1249213" y="1228455"/>
                  <a:pt x="1213548" y="1225420"/>
                </a:cubicBezTo>
                <a:cubicBezTo>
                  <a:pt x="1151534" y="1220142"/>
                  <a:pt x="1089140" y="1221273"/>
                  <a:pt x="1026936" y="1219200"/>
                </a:cubicBezTo>
                <a:cubicBezTo>
                  <a:pt x="805360" y="1185111"/>
                  <a:pt x="1140523" y="1234759"/>
                  <a:pt x="796781" y="1194318"/>
                </a:cubicBezTo>
                <a:cubicBezTo>
                  <a:pt x="775781" y="1191847"/>
                  <a:pt x="755488" y="1185014"/>
                  <a:pt x="734577" y="1181877"/>
                </a:cubicBezTo>
                <a:cubicBezTo>
                  <a:pt x="713969" y="1178786"/>
                  <a:pt x="693108" y="1177730"/>
                  <a:pt x="672373" y="1175657"/>
                </a:cubicBezTo>
                <a:cubicBezTo>
                  <a:pt x="649565" y="1169437"/>
                  <a:pt x="626883" y="1162730"/>
                  <a:pt x="603948" y="1156996"/>
                </a:cubicBezTo>
                <a:cubicBezTo>
                  <a:pt x="585402" y="1152360"/>
                  <a:pt x="565504" y="1152156"/>
                  <a:pt x="547964" y="1144555"/>
                </a:cubicBezTo>
                <a:cubicBezTo>
                  <a:pt x="426983" y="1092129"/>
                  <a:pt x="367300" y="1044665"/>
                  <a:pt x="261826" y="957942"/>
                </a:cubicBezTo>
                <a:cubicBezTo>
                  <a:pt x="218731" y="922509"/>
                  <a:pt x="182050" y="879450"/>
                  <a:pt x="137417" y="845975"/>
                </a:cubicBezTo>
                <a:cubicBezTo>
                  <a:pt x="112536" y="827314"/>
                  <a:pt x="84766" y="811983"/>
                  <a:pt x="62773" y="789991"/>
                </a:cubicBezTo>
                <a:cubicBezTo>
                  <a:pt x="31846" y="759065"/>
                  <a:pt x="49270" y="767955"/>
                  <a:pt x="13009" y="758889"/>
                </a:cubicBezTo>
                <a:cubicBezTo>
                  <a:pt x="8862" y="769256"/>
                  <a:pt x="-2682" y="779309"/>
                  <a:pt x="569" y="789991"/>
                </a:cubicBezTo>
                <a:cubicBezTo>
                  <a:pt x="10525" y="822705"/>
                  <a:pt x="71802" y="933768"/>
                  <a:pt x="100095" y="970383"/>
                </a:cubicBezTo>
                <a:cubicBezTo>
                  <a:pt x="118943" y="994774"/>
                  <a:pt x="143994" y="1014007"/>
                  <a:pt x="162299" y="1038808"/>
                </a:cubicBezTo>
                <a:cubicBezTo>
                  <a:pt x="208404" y="1101273"/>
                  <a:pt x="248998" y="1167627"/>
                  <a:pt x="292928" y="1231640"/>
                </a:cubicBezTo>
                <a:cubicBezTo>
                  <a:pt x="321571" y="1273377"/>
                  <a:pt x="353483" y="1312938"/>
                  <a:pt x="380013" y="1356049"/>
                </a:cubicBezTo>
                <a:cubicBezTo>
                  <a:pt x="396601" y="1383004"/>
                  <a:pt x="410005" y="1412199"/>
                  <a:pt x="429777" y="1436914"/>
                </a:cubicBezTo>
                <a:cubicBezTo>
                  <a:pt x="443546" y="1454125"/>
                  <a:pt x="465105" y="1463801"/>
                  <a:pt x="479540" y="1480457"/>
                </a:cubicBezTo>
                <a:cubicBezTo>
                  <a:pt x="492351" y="1495239"/>
                  <a:pt x="498119" y="1515193"/>
                  <a:pt x="510642" y="1530220"/>
                </a:cubicBezTo>
                <a:cubicBezTo>
                  <a:pt x="519142" y="1540419"/>
                  <a:pt x="532356" y="1545714"/>
                  <a:pt x="541744" y="1555102"/>
                </a:cubicBezTo>
                <a:cubicBezTo>
                  <a:pt x="551132" y="1564490"/>
                  <a:pt x="559261" y="1575157"/>
                  <a:pt x="566626" y="1586204"/>
                </a:cubicBezTo>
                <a:cubicBezTo>
                  <a:pt x="571769" y="1593919"/>
                  <a:pt x="572509" y="1604528"/>
                  <a:pt x="579066" y="1611085"/>
                </a:cubicBezTo>
                <a:cubicBezTo>
                  <a:pt x="587615" y="1619634"/>
                  <a:pt x="600625" y="1622324"/>
                  <a:pt x="610169" y="1629747"/>
                </a:cubicBezTo>
                <a:cubicBezTo>
                  <a:pt x="619427" y="1636948"/>
                  <a:pt x="625891" y="1647301"/>
                  <a:pt x="635050" y="1654628"/>
                </a:cubicBezTo>
                <a:cubicBezTo>
                  <a:pt x="677913" y="1688918"/>
                  <a:pt x="744432" y="1714596"/>
                  <a:pt x="790560" y="1729273"/>
                </a:cubicBezTo>
                <a:cubicBezTo>
                  <a:pt x="886913" y="1759931"/>
                  <a:pt x="983045" y="1794368"/>
                  <a:pt x="1082920" y="1810138"/>
                </a:cubicBezTo>
                <a:cubicBezTo>
                  <a:pt x="1192395" y="1827424"/>
                  <a:pt x="1301792" y="1846293"/>
                  <a:pt x="1412601" y="1853681"/>
                </a:cubicBezTo>
                <a:lnTo>
                  <a:pt x="1505907" y="1859902"/>
                </a:lnTo>
                <a:cubicBezTo>
                  <a:pt x="1563964" y="1857828"/>
                  <a:pt x="1622234" y="1859062"/>
                  <a:pt x="1680079" y="1853681"/>
                </a:cubicBezTo>
                <a:cubicBezTo>
                  <a:pt x="1711661" y="1850743"/>
                  <a:pt x="1742497" y="1842227"/>
                  <a:pt x="1773385" y="1835020"/>
                </a:cubicBezTo>
                <a:cubicBezTo>
                  <a:pt x="1804732" y="1827706"/>
                  <a:pt x="1836355" y="1820902"/>
                  <a:pt x="1866691" y="1810138"/>
                </a:cubicBezTo>
                <a:cubicBezTo>
                  <a:pt x="1921015" y="1790862"/>
                  <a:pt x="1991889" y="1756354"/>
                  <a:pt x="2040862" y="1723053"/>
                </a:cubicBezTo>
                <a:cubicBezTo>
                  <a:pt x="2068984" y="1703930"/>
                  <a:pt x="2098718" y="1685890"/>
                  <a:pt x="2121728" y="1660849"/>
                </a:cubicBezTo>
                <a:cubicBezTo>
                  <a:pt x="2169717" y="1608626"/>
                  <a:pt x="2215574" y="1553538"/>
                  <a:pt x="2252356" y="1492898"/>
                </a:cubicBezTo>
                <a:cubicBezTo>
                  <a:pt x="2292763" y="1426281"/>
                  <a:pt x="2318707" y="1351902"/>
                  <a:pt x="2351883" y="1281404"/>
                </a:cubicBezTo>
                <a:cubicBezTo>
                  <a:pt x="2365620" y="1203562"/>
                  <a:pt x="2388206" y="1087881"/>
                  <a:pt x="2389205" y="1013926"/>
                </a:cubicBezTo>
                <a:cubicBezTo>
                  <a:pt x="2390551" y="914322"/>
                  <a:pt x="2386359" y="814497"/>
                  <a:pt x="2376764" y="715347"/>
                </a:cubicBezTo>
                <a:cubicBezTo>
                  <a:pt x="2373856" y="685297"/>
                  <a:pt x="2361151" y="656993"/>
                  <a:pt x="2351883" y="628261"/>
                </a:cubicBezTo>
                <a:cubicBezTo>
                  <a:pt x="2325889" y="547678"/>
                  <a:pt x="2309477" y="503564"/>
                  <a:pt x="2271017" y="429208"/>
                </a:cubicBezTo>
                <a:cubicBezTo>
                  <a:pt x="2250098" y="388765"/>
                  <a:pt x="2205034" y="313633"/>
                  <a:pt x="2177711" y="273698"/>
                </a:cubicBezTo>
                <a:cubicBezTo>
                  <a:pt x="2166002" y="256585"/>
                  <a:pt x="2155488" y="238145"/>
                  <a:pt x="2140389" y="223934"/>
                </a:cubicBezTo>
                <a:cubicBezTo>
                  <a:pt x="2119852" y="204605"/>
                  <a:pt x="2097052" y="187054"/>
                  <a:pt x="2071964" y="174171"/>
                </a:cubicBezTo>
                <a:cubicBezTo>
                  <a:pt x="1916789" y="94487"/>
                  <a:pt x="1910414" y="105780"/>
                  <a:pt x="1742283" y="74645"/>
                </a:cubicBezTo>
                <a:cubicBezTo>
                  <a:pt x="1694593" y="76718"/>
                  <a:pt x="1646672" y="75734"/>
                  <a:pt x="1599213" y="80865"/>
                </a:cubicBezTo>
                <a:cubicBezTo>
                  <a:pt x="1542426" y="87004"/>
                  <a:pt x="1503036" y="103434"/>
                  <a:pt x="1449924" y="118187"/>
                </a:cubicBezTo>
                <a:cubicBezTo>
                  <a:pt x="1433449" y="122763"/>
                  <a:pt x="1416748" y="126481"/>
                  <a:pt x="1400160" y="130628"/>
                </a:cubicBezTo>
                <a:cubicBezTo>
                  <a:pt x="1385646" y="138922"/>
                  <a:pt x="1371367" y="147643"/>
                  <a:pt x="1356617" y="155510"/>
                </a:cubicBezTo>
                <a:cubicBezTo>
                  <a:pt x="1340253" y="164237"/>
                  <a:pt x="1306854" y="180391"/>
                  <a:pt x="1306854" y="180391"/>
                </a:cubicBezTo>
                <a:cubicBezTo>
                  <a:pt x="1287682" y="237914"/>
                  <a:pt x="1292966" y="202738"/>
                  <a:pt x="1425042" y="192832"/>
                </a:cubicBezTo>
                <a:cubicBezTo>
                  <a:pt x="1466601" y="189715"/>
                  <a:pt x="1549450" y="180391"/>
                  <a:pt x="1549450" y="180391"/>
                </a:cubicBezTo>
                <a:cubicBezTo>
                  <a:pt x="1601287" y="167950"/>
                  <a:pt x="1651870" y="147895"/>
                  <a:pt x="1704960" y="143069"/>
                </a:cubicBezTo>
                <a:lnTo>
                  <a:pt x="1841809" y="130628"/>
                </a:lnTo>
                <a:cubicBezTo>
                  <a:pt x="1866691" y="124408"/>
                  <a:pt x="1891186" y="116361"/>
                  <a:pt x="1916454" y="111967"/>
                </a:cubicBezTo>
                <a:cubicBezTo>
                  <a:pt x="1939018" y="108043"/>
                  <a:pt x="1962381" y="110032"/>
                  <a:pt x="1984879" y="105747"/>
                </a:cubicBezTo>
                <a:cubicBezTo>
                  <a:pt x="2166503" y="71152"/>
                  <a:pt x="1929802" y="98812"/>
                  <a:pt x="2109287" y="80865"/>
                </a:cubicBezTo>
                <a:cubicBezTo>
                  <a:pt x="2132095" y="74645"/>
                  <a:pt x="2154651" y="67411"/>
                  <a:pt x="2177711" y="62204"/>
                </a:cubicBezTo>
                <a:cubicBezTo>
                  <a:pt x="2273325" y="40614"/>
                  <a:pt x="2275221" y="41165"/>
                  <a:pt x="2345662" y="31102"/>
                </a:cubicBezTo>
                <a:cubicBezTo>
                  <a:pt x="2360176" y="26955"/>
                  <a:pt x="2374445" y="21824"/>
                  <a:pt x="2389205" y="18661"/>
                </a:cubicBezTo>
                <a:cubicBezTo>
                  <a:pt x="2506196" y="-6410"/>
                  <a:pt x="2358416" y="33676"/>
                  <a:pt x="2476291" y="0"/>
                </a:cubicBezTo>
                <a:cubicBezTo>
                  <a:pt x="2546789" y="8294"/>
                  <a:pt x="2618532" y="9299"/>
                  <a:pt x="2687785" y="24881"/>
                </a:cubicBezTo>
                <a:cubicBezTo>
                  <a:pt x="2703584" y="28436"/>
                  <a:pt x="2712152" y="46266"/>
                  <a:pt x="2725107" y="55983"/>
                </a:cubicBezTo>
                <a:cubicBezTo>
                  <a:pt x="2737069" y="64954"/>
                  <a:pt x="2750627" y="71685"/>
                  <a:pt x="2762430" y="80865"/>
                </a:cubicBezTo>
                <a:cubicBezTo>
                  <a:pt x="2769374" y="86266"/>
                  <a:pt x="2774147" y="94125"/>
                  <a:pt x="2781091" y="99526"/>
                </a:cubicBezTo>
                <a:cubicBezTo>
                  <a:pt x="2792893" y="108706"/>
                  <a:pt x="2809073" y="112733"/>
                  <a:pt x="2818413" y="124408"/>
                </a:cubicBezTo>
                <a:cubicBezTo>
                  <a:pt x="2849088" y="162751"/>
                  <a:pt x="2837357" y="143635"/>
                  <a:pt x="2855736" y="180391"/>
                </a:cubicBezTo>
                <a:cubicBezTo>
                  <a:pt x="2851187" y="266813"/>
                  <a:pt x="2854186" y="276772"/>
                  <a:pt x="2843295" y="342122"/>
                </a:cubicBezTo>
                <a:cubicBezTo>
                  <a:pt x="2841557" y="352551"/>
                  <a:pt x="2840418" y="363194"/>
                  <a:pt x="2837075" y="373224"/>
                </a:cubicBezTo>
                <a:cubicBezTo>
                  <a:pt x="2802468" y="477044"/>
                  <a:pt x="2832358" y="361740"/>
                  <a:pt x="2805973" y="454089"/>
                </a:cubicBezTo>
                <a:cubicBezTo>
                  <a:pt x="2786388" y="522639"/>
                  <a:pt x="2803834" y="483251"/>
                  <a:pt x="2781091" y="528734"/>
                </a:cubicBezTo>
                <a:cubicBezTo>
                  <a:pt x="2779018" y="543248"/>
                  <a:pt x="2777746" y="557900"/>
                  <a:pt x="2774871" y="572277"/>
                </a:cubicBezTo>
                <a:cubicBezTo>
                  <a:pt x="2773585" y="578707"/>
                  <a:pt x="2770240" y="584577"/>
                  <a:pt x="2768650" y="590938"/>
                </a:cubicBezTo>
                <a:cubicBezTo>
                  <a:pt x="2766086" y="601195"/>
                  <a:pt x="2764994" y="611783"/>
                  <a:pt x="2762430" y="622040"/>
                </a:cubicBezTo>
                <a:cubicBezTo>
                  <a:pt x="2760840" y="628401"/>
                  <a:pt x="2756754" y="634167"/>
                  <a:pt x="2756209" y="640702"/>
                </a:cubicBezTo>
                <a:cubicBezTo>
                  <a:pt x="2754659" y="659299"/>
                  <a:pt x="2756209" y="678024"/>
                  <a:pt x="2756209" y="696685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feld 12"/>
          <p:cNvSpPr txBox="1"/>
          <p:nvPr/>
        </p:nvSpPr>
        <p:spPr>
          <a:xfrm>
            <a:off x="8814318" y="2195804"/>
            <a:ext cx="227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abc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19FEE-77E8-457F-A68B-CA71C97CC2CC}" type="datetime1">
              <a:rPr lang="en-US" smtClean="0"/>
              <a:t>7/21/2020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7</a:t>
            </a:fld>
            <a:endParaRPr lang="en-US" dirty="0"/>
          </a:p>
        </p:txBody>
      </p:sp>
      <p:sp>
        <p:nvSpPr>
          <p:cNvPr id="19" name="Textfeld 18"/>
          <p:cNvSpPr txBox="1">
            <a:spLocks noChangeAspect="1"/>
          </p:cNvSpPr>
          <p:nvPr/>
        </p:nvSpPr>
        <p:spPr>
          <a:xfrm>
            <a:off x="9393853" y="4628048"/>
            <a:ext cx="762000" cy="762000"/>
          </a:xfrm>
          <a:custGeom>
            <a:avLst/>
            <a:gdLst/>
            <a:ahLst/>
            <a:cxnLst/>
            <a:rect l="l" t="t" r="r" b="b"/>
            <a:pathLst>
              <a:path w="762000" h="762000">
                <a:moveTo>
                  <a:pt x="250478" y="571500"/>
                </a:moveTo>
                <a:cubicBezTo>
                  <a:pt x="246031" y="571689"/>
                  <a:pt x="242646" y="573432"/>
                  <a:pt x="240320" y="576728"/>
                </a:cubicBezTo>
                <a:cubicBezTo>
                  <a:pt x="237995" y="580024"/>
                  <a:pt x="237511" y="583738"/>
                  <a:pt x="238869" y="587871"/>
                </a:cubicBezTo>
                <a:cubicBezTo>
                  <a:pt x="248186" y="609324"/>
                  <a:pt x="266945" y="627661"/>
                  <a:pt x="295145" y="642882"/>
                </a:cubicBezTo>
                <a:cubicBezTo>
                  <a:pt x="323345" y="658103"/>
                  <a:pt x="351963" y="666059"/>
                  <a:pt x="381000" y="666750"/>
                </a:cubicBezTo>
                <a:cubicBezTo>
                  <a:pt x="410037" y="666059"/>
                  <a:pt x="438655" y="658103"/>
                  <a:pt x="466855" y="642882"/>
                </a:cubicBezTo>
                <a:cubicBezTo>
                  <a:pt x="495055" y="627661"/>
                  <a:pt x="513814" y="609324"/>
                  <a:pt x="523131" y="587871"/>
                </a:cubicBezTo>
                <a:cubicBezTo>
                  <a:pt x="524489" y="583738"/>
                  <a:pt x="524005" y="580024"/>
                  <a:pt x="521680" y="576728"/>
                </a:cubicBezTo>
                <a:cubicBezTo>
                  <a:pt x="519354" y="573432"/>
                  <a:pt x="515969" y="571689"/>
                  <a:pt x="511523" y="571500"/>
                </a:cubicBezTo>
                <a:close/>
                <a:moveTo>
                  <a:pt x="476250" y="381000"/>
                </a:moveTo>
                <a:cubicBezTo>
                  <a:pt x="462741" y="381338"/>
                  <a:pt x="451510" y="385983"/>
                  <a:pt x="442559" y="394934"/>
                </a:cubicBezTo>
                <a:cubicBezTo>
                  <a:pt x="433608" y="403885"/>
                  <a:pt x="428963" y="415116"/>
                  <a:pt x="428625" y="428625"/>
                </a:cubicBezTo>
                <a:cubicBezTo>
                  <a:pt x="428963" y="442134"/>
                  <a:pt x="433608" y="453365"/>
                  <a:pt x="442559" y="462316"/>
                </a:cubicBezTo>
                <a:cubicBezTo>
                  <a:pt x="451510" y="471267"/>
                  <a:pt x="462741" y="475912"/>
                  <a:pt x="476250" y="476250"/>
                </a:cubicBezTo>
                <a:cubicBezTo>
                  <a:pt x="489759" y="475912"/>
                  <a:pt x="500990" y="471267"/>
                  <a:pt x="509941" y="462316"/>
                </a:cubicBezTo>
                <a:cubicBezTo>
                  <a:pt x="518892" y="453365"/>
                  <a:pt x="523537" y="442134"/>
                  <a:pt x="523875" y="428625"/>
                </a:cubicBezTo>
                <a:cubicBezTo>
                  <a:pt x="523537" y="415116"/>
                  <a:pt x="518892" y="403885"/>
                  <a:pt x="509941" y="394934"/>
                </a:cubicBezTo>
                <a:cubicBezTo>
                  <a:pt x="500990" y="385983"/>
                  <a:pt x="489759" y="381338"/>
                  <a:pt x="476250" y="381000"/>
                </a:cubicBezTo>
                <a:close/>
                <a:moveTo>
                  <a:pt x="285750" y="381000"/>
                </a:moveTo>
                <a:cubicBezTo>
                  <a:pt x="272241" y="381338"/>
                  <a:pt x="261010" y="385983"/>
                  <a:pt x="252059" y="394934"/>
                </a:cubicBezTo>
                <a:cubicBezTo>
                  <a:pt x="243108" y="403885"/>
                  <a:pt x="238463" y="415116"/>
                  <a:pt x="238125" y="428625"/>
                </a:cubicBezTo>
                <a:cubicBezTo>
                  <a:pt x="238463" y="442134"/>
                  <a:pt x="243108" y="453365"/>
                  <a:pt x="252059" y="462316"/>
                </a:cubicBezTo>
                <a:cubicBezTo>
                  <a:pt x="261010" y="471267"/>
                  <a:pt x="272241" y="475912"/>
                  <a:pt x="285750" y="476250"/>
                </a:cubicBezTo>
                <a:cubicBezTo>
                  <a:pt x="299259" y="475912"/>
                  <a:pt x="310490" y="471267"/>
                  <a:pt x="319441" y="462316"/>
                </a:cubicBezTo>
                <a:cubicBezTo>
                  <a:pt x="328392" y="453365"/>
                  <a:pt x="333037" y="442134"/>
                  <a:pt x="333375" y="428625"/>
                </a:cubicBezTo>
                <a:cubicBezTo>
                  <a:pt x="333037" y="415116"/>
                  <a:pt x="328392" y="403885"/>
                  <a:pt x="319441" y="394934"/>
                </a:cubicBezTo>
                <a:cubicBezTo>
                  <a:pt x="310490" y="385983"/>
                  <a:pt x="299259" y="381338"/>
                  <a:pt x="285750" y="381000"/>
                </a:cubicBezTo>
                <a:close/>
                <a:moveTo>
                  <a:pt x="381000" y="0"/>
                </a:moveTo>
                <a:cubicBezTo>
                  <a:pt x="421463" y="1023"/>
                  <a:pt x="455135" y="14976"/>
                  <a:pt x="482017" y="41858"/>
                </a:cubicBezTo>
                <a:cubicBezTo>
                  <a:pt x="508899" y="68740"/>
                  <a:pt x="522852" y="102412"/>
                  <a:pt x="523875" y="142875"/>
                </a:cubicBezTo>
                <a:cubicBezTo>
                  <a:pt x="523627" y="159643"/>
                  <a:pt x="520700" y="175518"/>
                  <a:pt x="515094" y="190500"/>
                </a:cubicBezTo>
                <a:lnTo>
                  <a:pt x="523875" y="190500"/>
                </a:lnTo>
                <a:cubicBezTo>
                  <a:pt x="550828" y="191185"/>
                  <a:pt x="573270" y="200493"/>
                  <a:pt x="591201" y="218424"/>
                </a:cubicBezTo>
                <a:cubicBezTo>
                  <a:pt x="609132" y="236355"/>
                  <a:pt x="618440" y="258797"/>
                  <a:pt x="619125" y="285750"/>
                </a:cubicBezTo>
                <a:cubicBezTo>
                  <a:pt x="619001" y="300140"/>
                  <a:pt x="616012" y="313442"/>
                  <a:pt x="610158" y="325655"/>
                </a:cubicBezTo>
                <a:cubicBezTo>
                  <a:pt x="604304" y="337868"/>
                  <a:pt x="596330" y="348379"/>
                  <a:pt x="586235" y="357188"/>
                </a:cubicBezTo>
                <a:lnTo>
                  <a:pt x="607219" y="357188"/>
                </a:lnTo>
                <a:cubicBezTo>
                  <a:pt x="637598" y="357950"/>
                  <a:pt x="662862" y="368406"/>
                  <a:pt x="683009" y="388553"/>
                </a:cubicBezTo>
                <a:cubicBezTo>
                  <a:pt x="703157" y="408701"/>
                  <a:pt x="713612" y="433964"/>
                  <a:pt x="714375" y="464344"/>
                </a:cubicBezTo>
                <a:cubicBezTo>
                  <a:pt x="714211" y="481903"/>
                  <a:pt x="710335" y="497982"/>
                  <a:pt x="702748" y="512583"/>
                </a:cubicBezTo>
                <a:cubicBezTo>
                  <a:pt x="695161" y="527183"/>
                  <a:pt x="684849" y="539430"/>
                  <a:pt x="671811" y="549324"/>
                </a:cubicBezTo>
                <a:cubicBezTo>
                  <a:pt x="697902" y="553963"/>
                  <a:pt x="719315" y="565894"/>
                  <a:pt x="736048" y="585117"/>
                </a:cubicBezTo>
                <a:cubicBezTo>
                  <a:pt x="752782" y="604341"/>
                  <a:pt x="761433" y="627583"/>
                  <a:pt x="762000" y="654844"/>
                </a:cubicBezTo>
                <a:cubicBezTo>
                  <a:pt x="761237" y="685223"/>
                  <a:pt x="750782" y="710487"/>
                  <a:pt x="730634" y="730634"/>
                </a:cubicBezTo>
                <a:cubicBezTo>
                  <a:pt x="710487" y="750782"/>
                  <a:pt x="685223" y="761237"/>
                  <a:pt x="654844" y="762000"/>
                </a:cubicBezTo>
                <a:lnTo>
                  <a:pt x="107156" y="762000"/>
                </a:lnTo>
                <a:cubicBezTo>
                  <a:pt x="76777" y="761237"/>
                  <a:pt x="51513" y="750782"/>
                  <a:pt x="31366" y="730634"/>
                </a:cubicBezTo>
                <a:cubicBezTo>
                  <a:pt x="11218" y="710487"/>
                  <a:pt x="763" y="685223"/>
                  <a:pt x="0" y="654844"/>
                </a:cubicBezTo>
                <a:cubicBezTo>
                  <a:pt x="567" y="627583"/>
                  <a:pt x="9218" y="604341"/>
                  <a:pt x="25952" y="585117"/>
                </a:cubicBezTo>
                <a:cubicBezTo>
                  <a:pt x="42686" y="565894"/>
                  <a:pt x="64098" y="553963"/>
                  <a:pt x="90189" y="549324"/>
                </a:cubicBezTo>
                <a:cubicBezTo>
                  <a:pt x="77152" y="539430"/>
                  <a:pt x="66839" y="527183"/>
                  <a:pt x="59252" y="512583"/>
                </a:cubicBezTo>
                <a:cubicBezTo>
                  <a:pt x="51665" y="497982"/>
                  <a:pt x="47789" y="481903"/>
                  <a:pt x="47625" y="464344"/>
                </a:cubicBezTo>
                <a:cubicBezTo>
                  <a:pt x="48388" y="433964"/>
                  <a:pt x="58843" y="408701"/>
                  <a:pt x="78991" y="388553"/>
                </a:cubicBezTo>
                <a:cubicBezTo>
                  <a:pt x="99138" y="368406"/>
                  <a:pt x="124402" y="357950"/>
                  <a:pt x="154781" y="357188"/>
                </a:cubicBezTo>
                <a:lnTo>
                  <a:pt x="175766" y="357188"/>
                </a:lnTo>
                <a:cubicBezTo>
                  <a:pt x="165670" y="348379"/>
                  <a:pt x="157696" y="337868"/>
                  <a:pt x="151842" y="325655"/>
                </a:cubicBezTo>
                <a:cubicBezTo>
                  <a:pt x="145988" y="313442"/>
                  <a:pt x="142999" y="300140"/>
                  <a:pt x="142875" y="285750"/>
                </a:cubicBezTo>
                <a:cubicBezTo>
                  <a:pt x="143560" y="258797"/>
                  <a:pt x="152868" y="236355"/>
                  <a:pt x="170799" y="218424"/>
                </a:cubicBezTo>
                <a:cubicBezTo>
                  <a:pt x="188730" y="200493"/>
                  <a:pt x="211172" y="191185"/>
                  <a:pt x="238125" y="190500"/>
                </a:cubicBezTo>
                <a:lnTo>
                  <a:pt x="261938" y="190500"/>
                </a:lnTo>
                <a:cubicBezTo>
                  <a:pt x="295678" y="189651"/>
                  <a:pt x="323745" y="178030"/>
                  <a:pt x="346137" y="155637"/>
                </a:cubicBezTo>
                <a:cubicBezTo>
                  <a:pt x="368530" y="133245"/>
                  <a:pt x="380151" y="105178"/>
                  <a:pt x="381000" y="71438"/>
                </a:cubicBezTo>
                <a:cubicBezTo>
                  <a:pt x="380938" y="58443"/>
                  <a:pt x="378941" y="46108"/>
                  <a:pt x="375010" y="34435"/>
                </a:cubicBezTo>
                <a:cubicBezTo>
                  <a:pt x="371078" y="22761"/>
                  <a:pt x="365584" y="12027"/>
                  <a:pt x="358528" y="2232"/>
                </a:cubicBezTo>
                <a:cubicBezTo>
                  <a:pt x="365795" y="893"/>
                  <a:pt x="373285" y="149"/>
                  <a:pt x="381000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Font Awesome 5 Free Solid" panose="02000503000000000000" pitchFamily="50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0250451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9507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art art</a:t>
            </a:r>
          </a:p>
        </p:txBody>
      </p:sp>
      <p:graphicFrame>
        <p:nvGraphicFramePr>
          <p:cNvPr id="5" name="Diagramm 4"/>
          <p:cNvGraphicFramePr/>
          <p:nvPr>
            <p:extLst>
              <p:ext uri="{D42A27DB-BD31-4B8C-83A1-F6EECF244321}">
                <p14:modId xmlns:p14="http://schemas.microsoft.com/office/powerpoint/2010/main" val="6948958"/>
              </p:ext>
            </p:extLst>
          </p:nvPr>
        </p:nvGraphicFramePr>
        <p:xfrm>
          <a:off x="2032000" y="2214465"/>
          <a:ext cx="8128000" cy="39238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391B0F-6039-4760-8D96-59CD8C673C29}" type="datetime1">
              <a:rPr lang="en-US" smtClean="0"/>
              <a:t>7/21/2020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2826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6590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agram</a:t>
            </a:r>
          </a:p>
        </p:txBody>
      </p:sp>
      <p:graphicFrame>
        <p:nvGraphicFramePr>
          <p:cNvPr id="5" name="Diagramm 4"/>
          <p:cNvGraphicFramePr/>
          <p:nvPr>
            <p:extLst>
              <p:ext uri="{D42A27DB-BD31-4B8C-83A1-F6EECF244321}">
                <p14:modId xmlns:p14="http://schemas.microsoft.com/office/powerpoint/2010/main" val="2271394706"/>
              </p:ext>
            </p:extLst>
          </p:nvPr>
        </p:nvGraphicFramePr>
        <p:xfrm>
          <a:off x="2032000" y="2220686"/>
          <a:ext cx="8128000" cy="3917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70A92-E06C-4CB9-82D9-1CCE38BE87EB}" type="datetime1">
              <a:rPr lang="en-US" smtClean="0"/>
              <a:t>7/21/2020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8589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Testsuite&quot;, &quot;hide-sub-items&quot;: false, &quot;position&quot;: 1, &quot;selector-line-color&quot;: 8355711, &quot;sections-create&quot;: false, &quot;selector-fill-color&quot;: 14461583, &quot;id&quot;: &quot;eabad415-8104-4c0e-b362-1b67f792ffc9&quot;}"/>
  <p:tag name="TOOLBOX-AGENDA" val="1"/>
  <p:tag name="TOOLBOX-AGENDA-SLIDENO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zW092_Ngr2WM3VFbJ0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3x6Xp07CtPY02VEkw33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TWIhU4asM5zsjFmQKZ6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Shapetypes&quot;, &quot;hide-sub-items&quot;: false, &quot;position&quot;: 2, &quot;selector-line-color&quot;: 8355711, &quot;sections-create&quot;: false, &quot;selector-fill-color&quot;: 14461583, &quot;id&quot;: &quot;eabad415-8104-4c0e-b362-1b67f792ffc9&quot;}"/>
  <p:tag name="TOOLBOX-AGENDA" val="1"/>
  <p:tag name="TOOLBOX-AGENDA-SLIDENO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HyvwLcLaiXYAQ6qP49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Y3vBgh9lYp5d_SHSkCK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QvxbtxCqu_fReqcD.tI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KpYCk.dId7.D3MQW3U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Shapestypes 2&quot;, &quot;hide-sub-items&quot;: false, &quot;position&quot;: 3, &quot;selector-line-color&quot;: 8355711, &quot;sections-create&quot;: false, &quot;selector-fill-color&quot;: 14461583, &quot;id&quot;: &quot;eabad415-8104-4c0e-b362-1b67f792ffc9&quot;}"/>
  <p:tag name="TOOLBOX-AGENDA" val="1"/>
  <p:tag name="TOOLBOX-AGENDA-SLIDENO" val="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false, &quot;slide_id&quot;: 256, &quot;slide_path&quot;: &quot;CURRENT&quot;, &quot;data_type&quot;: 6}"/>
  <p:tag name="BKT_CONTEXTDIALOG" val="BKT_THUMBNAI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Shapetypes 3&quot;, &quot;hide-sub-items&quot;: false, &quot;position&quot;: 4, &quot;selector-line-color&quot;: 8355711, &quot;sections-create&quot;: false, &quot;selector-fill-color&quot;: 14461583, &quot;id&quot;: &quot;eabad415-8104-4c0e-b362-1b67f792ffc9&quot;}"/>
  <p:tag name="TOOLBOX-AGENDA" val="1"/>
  <p:tag name="TOOLBOX-AGENDA-SLIDENO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l9.I6t7GXtfqSXVMy8_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G4T5A4.5pvY7Y0Khk5i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sZYwD368uiKA_n64W11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Gradients&quot;, &quot;hide-sub-items&quot;: false, &quot;position&quot;: 5, &quot;selector-line-color&quot;: 8355711, &quot;sections-create&quot;: false, &quot;selector-fill-color&quot;: 14461583, &quot;id&quot;: &quot;eabad415-8104-4c0e-b362-1b67f792ffc9&quot;}"/>
  <p:tag name="TOOLBOX-AGENDA" val="1"/>
  <p:tag name="TOOLBOX-AGENDA-SLIDENO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IqyXxAnSVpky99xc568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false, &quot;slide_id&quot;: 256, &quot;slide_path&quot;: &quot;C:\\Users\\fstallmann\\Pictures\\THUMBNAIL-TEST.pptx&quot;, &quot;data_type&quot;: 6}"/>
  <p:tag name="BKT_CONTEXTDIALOG" val="BKT_THUMBNAIL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wugfCOqnjVHfwgUB5L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" val="1"/>
  <p:tag name="TOOLBOX-AGENDA-SLIDENO" val="0"/>
  <p:tag name="TOOLBOX-AGENDA-SETTINGS" val="{&quot;slides-for-sub-items&quot;: true, &quot;indent-level&quot;: null, &quot;position&quot;: 0, &quot;hide-sub-items&quot;: false, &quot;text&quot;: null, &quot;selector-line-color&quot;: 8355711, &quot;sections-create&quot;: false, &quot;selector-fill-color&quot;: 14461583, &quot;id&quot;: &quot;eabad415-8104-4c0e-b362-1b67f792ffc9&quot;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Ion-Sitzungssaal">
  <a:themeElements>
    <a:clrScheme name="Ion-Sitzungssaal">
      <a:dk1>
        <a:sysClr val="windowText" lastClr="000000"/>
      </a:dk1>
      <a:lt1>
        <a:sysClr val="window" lastClr="FFFFFF"/>
      </a:lt1>
      <a:dk2>
        <a:srgbClr val="3B3059"/>
      </a:dk2>
      <a:lt2>
        <a:srgbClr val="EBEBEB"/>
      </a:lt2>
      <a:accent1>
        <a:srgbClr val="B31166"/>
      </a:accent1>
      <a:accent2>
        <a:srgbClr val="E33D6F"/>
      </a:accent2>
      <a:accent3>
        <a:srgbClr val="E45F3C"/>
      </a:accent3>
      <a:accent4>
        <a:srgbClr val="E9943A"/>
      </a:accent4>
      <a:accent5>
        <a:srgbClr val="9B6BF2"/>
      </a:accent5>
      <a:accent6>
        <a:srgbClr val="D53DD0"/>
      </a:accent6>
      <a:hlink>
        <a:srgbClr val="8F8F8F"/>
      </a:hlink>
      <a:folHlink>
        <a:srgbClr val="A5A5A5"/>
      </a:folHlink>
    </a:clrScheme>
    <a:fontScheme name="Ion-Sitzungssaal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-Sitzungssaal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24000"/>
                <a:satMod val="148000"/>
                <a:lumMod val="12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91000"/>
                <a:satMod val="164000"/>
                <a:lumMod val="74000"/>
              </a:schemeClr>
              <a:schemeClr val="phClr">
                <a:hueMod val="124000"/>
                <a:satMod val="140000"/>
                <a:lumMod val="14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B8502691-933B-45FE-8764-BA278511EF27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80</Words>
  <Application>Microsoft Office PowerPoint</Application>
  <PresentationFormat>Breitbild</PresentationFormat>
  <Paragraphs>203</Paragraphs>
  <Slides>22</Slides>
  <Notes>0</Notes>
  <HiddenSlides>1</HiddenSlides>
  <MMClips>1</MMClips>
  <ScaleCrop>false</ScaleCrop>
  <HeadingPairs>
    <vt:vector size="10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3</vt:i4>
      </vt:variant>
      <vt:variant>
        <vt:lpstr>Links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2</vt:i4>
      </vt:variant>
    </vt:vector>
  </HeadingPairs>
  <TitlesOfParts>
    <vt:vector size="35" baseType="lpstr">
      <vt:lpstr>Arial</vt:lpstr>
      <vt:lpstr>Calibri</vt:lpstr>
      <vt:lpstr>Calibri Light</vt:lpstr>
      <vt:lpstr>Century Gothic</vt:lpstr>
      <vt:lpstr>Font Awesome 5 Free Solid</vt:lpstr>
      <vt:lpstr>Wingdings</vt:lpstr>
      <vt:lpstr>Wingdings 3</vt:lpstr>
      <vt:lpstr>Office</vt:lpstr>
      <vt:lpstr>Benutzerdefiniertes Design</vt:lpstr>
      <vt:lpstr>Ion-Sitzungssaal</vt:lpstr>
      <vt:lpstr>https://d.docs.live.net/87adb65ad37b5729/Dokumente/Senacor/BKT%20Quick%20Tips/Mappe1!Tabelle1!Z1S1:Z5S3</vt:lpstr>
      <vt:lpstr>think-cell Folie</vt:lpstr>
      <vt:lpstr>Arbeitsblatt</vt:lpstr>
      <vt:lpstr>Agenda erstellt vor 2.7!</vt:lpstr>
      <vt:lpstr>Agenda erstellt vor 2.7!</vt:lpstr>
      <vt:lpstr>Testing shape selection</vt:lpstr>
      <vt:lpstr>Testing alignments and stacking</vt:lpstr>
      <vt:lpstr>Test in and out of shape</vt:lpstr>
      <vt:lpstr>Agenda erstellt vor 2.7!</vt:lpstr>
      <vt:lpstr>Standard shapes</vt:lpstr>
      <vt:lpstr>Smart art</vt:lpstr>
      <vt:lpstr>Diagram</vt:lpstr>
      <vt:lpstr>X</vt:lpstr>
      <vt:lpstr>All shape autotypes</vt:lpstr>
      <vt:lpstr>Agenda erstellt vor 2.7!</vt:lpstr>
      <vt:lpstr>Picture</vt:lpstr>
      <vt:lpstr>Table</vt:lpstr>
      <vt:lpstr>Groups</vt:lpstr>
      <vt:lpstr>Agenda erstellt vor 2.7!</vt:lpstr>
      <vt:lpstr>Placeholder - Table</vt:lpstr>
      <vt:lpstr>Placeholder - Picture</vt:lpstr>
      <vt:lpstr>Agenda erstellt vor 2.7!</vt:lpstr>
      <vt:lpstr>[(s.fill.GradientColorType, s.fill.GradientStyle, s.fill.GradientVariant, s.fill.PresetGradientType, s.fill.GradientAngle) for s in context.shapes]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shapes</dc:title>
  <dc:creator>Stallmann, Florian</dc:creator>
  <cp:lastModifiedBy>Stallmann, Florian</cp:lastModifiedBy>
  <cp:revision>99</cp:revision>
  <dcterms:created xsi:type="dcterms:W3CDTF">2019-10-24T14:46:21Z</dcterms:created>
  <dcterms:modified xsi:type="dcterms:W3CDTF">2020-07-21T19:19:05Z</dcterms:modified>
</cp:coreProperties>
</file>